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5" r:id="rId3"/>
    <p:sldMasterId id="2147483697" r:id="rId4"/>
  </p:sldMasterIdLst>
  <p:notesMasterIdLst>
    <p:notesMasterId r:id="rId8"/>
  </p:notesMasterIdLst>
  <p:sldIdLst>
    <p:sldId id="267" r:id="rId5"/>
    <p:sldId id="282" r:id="rId6"/>
    <p:sldId id="281" r:id="rId7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99"/>
    <a:srgbClr val="FF9933"/>
    <a:srgbClr val="00CCFF"/>
    <a:srgbClr val="33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532" autoAdjust="0"/>
  </p:normalViewPr>
  <p:slideViewPr>
    <p:cSldViewPr showGuides="1">
      <p:cViewPr>
        <p:scale>
          <a:sx n="70" d="100"/>
          <a:sy n="70" d="100"/>
        </p:scale>
        <p:origin x="-1968" y="-4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image" Target="../media/image14.png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image" Target="../media/image22.jp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image" Target="../media/image14.png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3.jpeg"/><Relationship Id="rId1" Type="http://schemas.openxmlformats.org/officeDocument/2006/relationships/image" Target="../media/image22.jpg"/><Relationship Id="rId5" Type="http://schemas.openxmlformats.org/officeDocument/2006/relationships/image" Target="../media/image24.png"/><Relationship Id="rId4" Type="http://schemas.openxmlformats.org/officeDocument/2006/relationships/image" Target="../media/image2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118AD7D-F8E3-4648-BBE2-B6627FDF6B51}" type="doc">
      <dgm:prSet loTypeId="urn:microsoft.com/office/officeart/2005/8/layout/pList2" loCatId="list" qsTypeId="urn:microsoft.com/office/officeart/2005/8/quickstyle/simple5" qsCatId="simple" csTypeId="urn:microsoft.com/office/officeart/2005/8/colors/accent0_2" csCatId="mainScheme" phldr="1"/>
      <dgm:spPr/>
      <dgm:t>
        <a:bodyPr/>
        <a:lstStyle/>
        <a:p>
          <a:endParaRPr lang="en-US"/>
        </a:p>
      </dgm:t>
    </dgm:pt>
    <dgm:pt modelId="{B01B4D49-D23B-449E-A015-E1FDFF605B11}">
      <dgm:prSet phldrT="[Text]" custT="1"/>
      <dgm:spPr>
        <a:xfrm rot="10800000">
          <a:off x="268284" y="1678344"/>
          <a:ext cx="1062640" cy="2051309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  <dgm:t>
        <a:bodyPr/>
        <a:lstStyle/>
        <a:p>
          <a:pPr algn="ctr"/>
          <a:r>
            <a:rPr lang="en-US" sz="1000" b="1" i="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Pre-launch</a:t>
          </a:r>
          <a:endParaRPr lang="en-US" sz="10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/>
          <a:endParaRPr lang="en-US" sz="10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l"/>
          <a:endParaRPr lang="en-US" sz="10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/>
          <a:r>
            <a:rPr lang="en-US" sz="1000" b="1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Kick off meeting</a:t>
          </a:r>
        </a:p>
        <a:p>
          <a:pPr algn="ctr"/>
          <a:endParaRPr lang="en-US" sz="1000" b="1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/>
          <a:r>
            <a:rPr lang="en-US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Brainstorming during April Business Review with Marketing Team and Management for deeper integration of understanding Sanofi Purpose and Values.</a:t>
          </a:r>
        </a:p>
        <a:p>
          <a:pPr algn="ctr"/>
          <a:endParaRPr lang="en-US" sz="1200" dirty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</dgm:t>
    </dgm:pt>
    <dgm:pt modelId="{77E0035F-CAE0-46EF-8385-80C5160F960D}" type="parTrans" cxnId="{1772BF75-90A6-443B-AED5-1AF711B8A3D8}">
      <dgm:prSet/>
      <dgm:spPr/>
      <dgm:t>
        <a:bodyPr/>
        <a:lstStyle/>
        <a:p>
          <a:endParaRPr lang="en-US"/>
        </a:p>
      </dgm:t>
    </dgm:pt>
    <dgm:pt modelId="{3A90593F-B3B7-4185-A61D-8B19CEBA879D}" type="sibTrans" cxnId="{1772BF75-90A6-443B-AED5-1AF711B8A3D8}">
      <dgm:prSet/>
      <dgm:spPr/>
      <dgm:t>
        <a:bodyPr/>
        <a:lstStyle/>
        <a:p>
          <a:endParaRPr lang="en-US"/>
        </a:p>
      </dgm:t>
    </dgm:pt>
    <dgm:pt modelId="{B2EB2599-6D65-4B3B-B6A8-1AECE0B5B5EA}">
      <dgm:prSet phldrT="[Text]" custT="1"/>
      <dgm:spPr>
        <a:xfrm rot="10800000">
          <a:off x="1442108" y="1678344"/>
          <a:ext cx="1062640" cy="2051309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  <dgm:t>
        <a:bodyPr/>
        <a:lstStyle/>
        <a:p>
          <a:pPr algn="ctr">
            <a:lnSpc>
              <a:spcPct val="90000"/>
            </a:lnSpc>
            <a:spcAft>
              <a:spcPct val="35000"/>
            </a:spcAft>
          </a:pPr>
          <a:r>
            <a:rPr lang="en-US" sz="1000" b="1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Launch Event with Sales Force</a:t>
          </a:r>
        </a:p>
        <a:p>
          <a:pPr algn="l">
            <a:lnSpc>
              <a:spcPct val="90000"/>
            </a:lnSpc>
            <a:spcAft>
              <a:spcPct val="35000"/>
            </a:spcAft>
          </a:pPr>
          <a:endParaRPr lang="en-US" sz="10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en-US" sz="1000" b="1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P &amp; V presentation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en-US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+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en-US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Discussion session</a:t>
          </a:r>
        </a:p>
        <a:p>
          <a:pPr algn="ctr">
            <a:lnSpc>
              <a:spcPct val="100000"/>
            </a:lnSpc>
            <a:spcAft>
              <a:spcPts val="0"/>
            </a:spcAft>
          </a:pPr>
          <a:endParaRPr lang="en-US" sz="10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en-US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We asked our colleagues what is Courage, Teamwork, Integrity and Respect for them</a:t>
          </a:r>
        </a:p>
      </dgm:t>
    </dgm:pt>
    <dgm:pt modelId="{AADBDC09-907C-4CB9-8490-DD04D39CF5C5}" type="parTrans" cxnId="{328D3047-7CE3-4940-90D3-E416C658F52F}">
      <dgm:prSet/>
      <dgm:spPr/>
      <dgm:t>
        <a:bodyPr/>
        <a:lstStyle/>
        <a:p>
          <a:endParaRPr lang="en-US"/>
        </a:p>
      </dgm:t>
    </dgm:pt>
    <dgm:pt modelId="{EFED7F19-EFF3-45CD-B804-4552FE78F2DD}" type="sibTrans" cxnId="{328D3047-7CE3-4940-90D3-E416C658F52F}">
      <dgm:prSet/>
      <dgm:spPr/>
      <dgm:t>
        <a:bodyPr/>
        <a:lstStyle/>
        <a:p>
          <a:endParaRPr lang="en-US"/>
        </a:p>
      </dgm:t>
    </dgm:pt>
    <dgm:pt modelId="{D3231D78-FE4F-48EF-9A57-515DED5DF738}">
      <dgm:prSet phldrT="[Text]" custT="1"/>
      <dgm:spPr>
        <a:xfrm rot="10800000">
          <a:off x="2606093" y="1678344"/>
          <a:ext cx="1062640" cy="2051309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  <dgm:t>
        <a:bodyPr/>
        <a:lstStyle/>
        <a:p>
          <a:pPr algn="ctr"/>
          <a:r>
            <a:rPr lang="en-US" sz="1000" b="1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Purpose</a:t>
          </a:r>
          <a:endParaRPr lang="fr-FR" sz="10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/>
          <a:r>
            <a:rPr lang="fr-FR" sz="1000" b="1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Brainstorming</a:t>
          </a:r>
        </a:p>
        <a:p>
          <a:pPr algn="ctr"/>
          <a:endParaRPr lang="fr-FR" sz="10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/>
          <a:r>
            <a:rPr lang="fr-FR" sz="10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We</a:t>
          </a:r>
          <a:r>
            <a:rPr lang="fr-FR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fr-FR" sz="10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had</a:t>
          </a:r>
          <a:r>
            <a:rPr lang="fr-FR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the </a:t>
          </a:r>
          <a:r>
            <a:rPr lang="fr-FR" sz="10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opportunity</a:t>
          </a:r>
          <a:r>
            <a:rPr lang="fr-FR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to </a:t>
          </a:r>
          <a:r>
            <a:rPr lang="fr-FR" sz="10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brainstorm</a:t>
          </a:r>
          <a:r>
            <a:rPr lang="fr-FR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in groups on CHC </a:t>
          </a:r>
          <a:r>
            <a:rPr lang="fr-FR" sz="10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purpose</a:t>
          </a:r>
          <a:r>
            <a:rPr lang="fr-FR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translation to French &amp; </a:t>
          </a:r>
          <a:r>
            <a:rPr lang="fr-FR" sz="10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Arabic</a:t>
          </a:r>
          <a:r>
            <a:rPr lang="fr-FR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en-US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to  better understand CHC purpose and embrace it.</a:t>
          </a:r>
        </a:p>
      </dgm:t>
    </dgm:pt>
    <dgm:pt modelId="{C6827A13-E51D-4E34-B11F-019709754C14}" type="parTrans" cxnId="{76E3A790-5487-48B2-BE80-10E845FED782}">
      <dgm:prSet/>
      <dgm:spPr/>
      <dgm:t>
        <a:bodyPr/>
        <a:lstStyle/>
        <a:p>
          <a:endParaRPr lang="en-US"/>
        </a:p>
      </dgm:t>
    </dgm:pt>
    <dgm:pt modelId="{57C06AB3-5985-4B72-BBD4-59697D26AB99}" type="sibTrans" cxnId="{76E3A790-5487-48B2-BE80-10E845FED782}">
      <dgm:prSet/>
      <dgm:spPr/>
      <dgm:t>
        <a:bodyPr/>
        <a:lstStyle/>
        <a:p>
          <a:endParaRPr lang="en-US"/>
        </a:p>
      </dgm:t>
    </dgm:pt>
    <dgm:pt modelId="{3AA62540-72F3-4870-AE91-6CB6AF5A8D21}">
      <dgm:prSet custT="1"/>
      <dgm:spPr>
        <a:xfrm rot="10800000">
          <a:off x="3774997" y="1678344"/>
          <a:ext cx="1062640" cy="2051309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  <dgm:t>
        <a:bodyPr/>
        <a:lstStyle/>
        <a:p>
          <a:pPr algn="ctr"/>
          <a:r>
            <a:rPr lang="en-US" sz="1000" b="1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Purpose activation</a:t>
          </a:r>
        </a:p>
        <a:p>
          <a:pPr algn="ctr"/>
          <a:endParaRPr lang="en-US" sz="1000" b="1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/>
          <a:r>
            <a:rPr lang="en-US" sz="1000" b="1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Sharing Box</a:t>
          </a:r>
        </a:p>
        <a:p>
          <a:pPr algn="ctr"/>
          <a:endParaRPr lang="en-US" sz="1000" b="1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/>
          <a:r>
            <a:rPr lang="en-US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CHC team with </a:t>
          </a:r>
          <a:r>
            <a:rPr lang="en-US" sz="10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Bex</a:t>
          </a:r>
          <a:r>
            <a:rPr lang="en-US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and IT teams  got some</a:t>
          </a:r>
        </a:p>
        <a:p>
          <a:pPr algn="ctr"/>
          <a:r>
            <a:rPr lang="en-US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customized team photos to keep a fun </a:t>
          </a:r>
        </a:p>
        <a:p>
          <a:pPr algn="ctr"/>
          <a:r>
            <a:rPr lang="en-US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souvenir of P&amp;V workshops and  to rekindles team </a:t>
          </a:r>
        </a:p>
        <a:p>
          <a:pPr algn="ctr"/>
          <a:r>
            <a:rPr lang="en-US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spirit.</a:t>
          </a:r>
        </a:p>
      </dgm:t>
    </dgm:pt>
    <dgm:pt modelId="{6A771E2A-1A9B-4C6F-AA83-B1AAF8AA15AB}" type="parTrans" cxnId="{4391395A-9777-4E34-B8A4-2403563D7DB0}">
      <dgm:prSet/>
      <dgm:spPr/>
      <dgm:t>
        <a:bodyPr/>
        <a:lstStyle/>
        <a:p>
          <a:endParaRPr lang="en-US"/>
        </a:p>
      </dgm:t>
    </dgm:pt>
    <dgm:pt modelId="{3ED916DB-F5AD-4DEA-AC3F-92AD024D4E98}" type="sibTrans" cxnId="{4391395A-9777-4E34-B8A4-2403563D7DB0}">
      <dgm:prSet/>
      <dgm:spPr/>
      <dgm:t>
        <a:bodyPr/>
        <a:lstStyle/>
        <a:p>
          <a:endParaRPr lang="en-US"/>
        </a:p>
      </dgm:t>
    </dgm:pt>
    <dgm:pt modelId="{8F9DE429-6C18-4DE3-8DD5-B4436B097BF6}">
      <dgm:prSet custT="1"/>
      <dgm:spPr>
        <a:xfrm rot="10800000">
          <a:off x="4943902" y="1678344"/>
          <a:ext cx="1253044" cy="2051309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  <dgm:t>
        <a:bodyPr/>
        <a:lstStyle/>
        <a:p>
          <a:pPr algn="ctr"/>
          <a:r>
            <a:rPr lang="en-US" sz="1000" b="1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Values Activations</a:t>
          </a:r>
        </a:p>
        <a:p>
          <a:pPr algn="ctr"/>
          <a:endParaRPr lang="en-US" sz="1000" b="1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/>
          <a:r>
            <a:rPr lang="en-US" sz="1000" b="1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Puzzle</a:t>
          </a:r>
        </a:p>
        <a:p>
          <a:pPr algn="ctr"/>
          <a:endParaRPr lang="en-US" sz="1000" b="1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/>
          <a:endParaRPr lang="en-US" sz="1000" b="1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/>
          <a:endParaRPr lang="en-US" sz="1000" b="1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/>
          <a:endParaRPr lang="en-US" sz="1000" b="1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algn="ctr"/>
          <a:r>
            <a:rPr lang="en-US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Groups had to complete puzzles representing CHC Values </a:t>
          </a:r>
        </a:p>
      </dgm:t>
    </dgm:pt>
    <dgm:pt modelId="{9DF79E16-0738-48CA-8113-7F50B7774DDA}" type="parTrans" cxnId="{EC0A62BE-658F-470C-87E2-11186C534063}">
      <dgm:prSet/>
      <dgm:spPr/>
      <dgm:t>
        <a:bodyPr/>
        <a:lstStyle/>
        <a:p>
          <a:endParaRPr lang="en-US"/>
        </a:p>
      </dgm:t>
    </dgm:pt>
    <dgm:pt modelId="{7CEAE597-8C31-49F3-BDBE-D8D31CAF48A1}" type="sibTrans" cxnId="{EC0A62BE-658F-470C-87E2-11186C534063}">
      <dgm:prSet/>
      <dgm:spPr/>
      <dgm:t>
        <a:bodyPr/>
        <a:lstStyle/>
        <a:p>
          <a:endParaRPr lang="en-US"/>
        </a:p>
      </dgm:t>
    </dgm:pt>
    <dgm:pt modelId="{03A356B2-D472-4414-BB9F-C7E66A027E69}">
      <dgm:prSet custT="1"/>
      <dgm:spPr>
        <a:xfrm rot="10800000">
          <a:off x="6303210" y="1678344"/>
          <a:ext cx="1062640" cy="2051309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  <dgm:t>
        <a:bodyPr/>
        <a:lstStyle/>
        <a:p>
          <a:r>
            <a:rPr lang="en-US" sz="1000" b="1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Values Activation</a:t>
          </a:r>
        </a:p>
        <a:p>
          <a:endParaRPr lang="en-US" sz="1000" b="1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r>
            <a:rPr lang="en-US" sz="1000" b="1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F1 Challenge</a:t>
          </a:r>
        </a:p>
        <a:p>
          <a:r>
            <a:rPr lang="en-US" sz="1000" b="1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</a:t>
          </a:r>
        </a:p>
        <a:p>
          <a:endParaRPr lang="en-US" sz="10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endParaRPr lang="en-US" sz="10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r>
            <a:rPr lang="en-US" sz="10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The teams were challenged  to design and build their very own concept car for a human powered race in the end</a:t>
          </a:r>
        </a:p>
      </dgm:t>
    </dgm:pt>
    <dgm:pt modelId="{9F2FC2E0-997B-418D-A107-A414F9D5AA00}" type="parTrans" cxnId="{EB11D70B-4869-46F0-8E0E-D8AD2288C8EC}">
      <dgm:prSet/>
      <dgm:spPr/>
      <dgm:t>
        <a:bodyPr/>
        <a:lstStyle/>
        <a:p>
          <a:endParaRPr lang="en-US"/>
        </a:p>
      </dgm:t>
    </dgm:pt>
    <dgm:pt modelId="{2B821790-F5AD-4CF3-BE31-95EC26CA84C9}" type="sibTrans" cxnId="{EB11D70B-4869-46F0-8E0E-D8AD2288C8EC}">
      <dgm:prSet/>
      <dgm:spPr/>
      <dgm:t>
        <a:bodyPr/>
        <a:lstStyle/>
        <a:p>
          <a:endParaRPr lang="en-US"/>
        </a:p>
      </dgm:t>
    </dgm:pt>
    <dgm:pt modelId="{A142F35C-1D6F-40E1-ADD5-B05675539341}" type="pres">
      <dgm:prSet presAssocID="{4118AD7D-F8E3-4648-BBE2-B6627FDF6B5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ED5FCEC-8E62-41B2-8EE5-247705B7F999}" type="pres">
      <dgm:prSet presAssocID="{4118AD7D-F8E3-4648-BBE2-B6627FDF6B51}" presName="bkgdShp" presStyleLbl="alignAccFollowNode1" presStyleIdx="0" presStyleCnt="1" custLinFactNeighborY="198"/>
      <dgm:spPr>
        <a:xfrm>
          <a:off x="0" y="3323"/>
          <a:ext cx="8803040" cy="1678344"/>
        </a:xfrm>
        <a:prstGeom prst="roundRect">
          <a:avLst>
            <a:gd name="adj" fmla="val 10000"/>
          </a:avLst>
        </a:prstGeom>
        <a:solidFill>
          <a:srgbClr val="FFFFFF">
            <a:alpha val="90000"/>
            <a:tint val="4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525CA3"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997B4B56-D9FA-4410-B624-C09C5A14998A}" type="pres">
      <dgm:prSet presAssocID="{4118AD7D-F8E3-4648-BBE2-B6627FDF6B51}" presName="linComp" presStyleCnt="0"/>
      <dgm:spPr/>
    </dgm:pt>
    <dgm:pt modelId="{DA10ADF2-2C44-4E01-9A6F-AEAB85C5F37C}" type="pres">
      <dgm:prSet presAssocID="{B01B4D49-D23B-449E-A015-E1FDFF605B11}" presName="compNode" presStyleCnt="0"/>
      <dgm:spPr/>
    </dgm:pt>
    <dgm:pt modelId="{7759CFB4-31F2-4288-BF43-0D0E027725BE}" type="pres">
      <dgm:prSet presAssocID="{B01B4D49-D23B-449E-A015-E1FDFF605B11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DCFBBC-FEE7-4A49-AA5D-875477F906EB}" type="pres">
      <dgm:prSet presAssocID="{B01B4D49-D23B-449E-A015-E1FDFF605B11}" presName="invisiNode" presStyleLbl="node1" presStyleIdx="0" presStyleCnt="6"/>
      <dgm:spPr/>
    </dgm:pt>
    <dgm:pt modelId="{3D842937-B958-4186-9FFC-AAA1B7F6E2C5}" type="pres">
      <dgm:prSet presAssocID="{B01B4D49-D23B-449E-A015-E1FDFF605B11}" presName="imagNode" presStyleLbl="fgImgPlace1" presStyleIdx="0" presStyleCnt="6"/>
      <dgm:spPr>
        <a:xfrm>
          <a:off x="268284" y="223779"/>
          <a:ext cx="1062640" cy="123078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  <dgm:t>
        <a:bodyPr/>
        <a:lstStyle/>
        <a:p>
          <a:endParaRPr lang="en-US"/>
        </a:p>
      </dgm:t>
    </dgm:pt>
    <dgm:pt modelId="{3A727BF6-5FAD-44B2-9BE9-45055420FE0A}" type="pres">
      <dgm:prSet presAssocID="{3A90593F-B3B7-4185-A61D-8B19CEBA879D}" presName="sibTrans" presStyleLbl="sibTrans2D1" presStyleIdx="0" presStyleCnt="0"/>
      <dgm:spPr/>
      <dgm:t>
        <a:bodyPr/>
        <a:lstStyle/>
        <a:p>
          <a:endParaRPr lang="en-US"/>
        </a:p>
      </dgm:t>
    </dgm:pt>
    <dgm:pt modelId="{F31301E1-B8F7-4D78-809E-3FC9C9F9438D}" type="pres">
      <dgm:prSet presAssocID="{B2EB2599-6D65-4B3B-B6A8-1AECE0B5B5EA}" presName="compNode" presStyleCnt="0"/>
      <dgm:spPr/>
    </dgm:pt>
    <dgm:pt modelId="{25E99C7B-5675-4F33-A006-F41517BABAC9}" type="pres">
      <dgm:prSet presAssocID="{B2EB2599-6D65-4B3B-B6A8-1AECE0B5B5EA}" presName="node" presStyleLbl="node1" presStyleIdx="1" presStyleCnt="6" custLinFactNeighborX="4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2BAC4C-5048-4E12-9EDC-2A02D55EFF6E}" type="pres">
      <dgm:prSet presAssocID="{B2EB2599-6D65-4B3B-B6A8-1AECE0B5B5EA}" presName="invisiNode" presStyleLbl="node1" presStyleIdx="1" presStyleCnt="6"/>
      <dgm:spPr/>
    </dgm:pt>
    <dgm:pt modelId="{0A722DE0-55D5-43CC-861D-3AE221B73FC3}" type="pres">
      <dgm:prSet presAssocID="{B2EB2599-6D65-4B3B-B6A8-1AECE0B5B5EA}" presName="imagNode" presStyleLbl="fgImgPlace1" presStyleIdx="1" presStyleCnt="6"/>
      <dgm:spPr>
        <a:xfrm>
          <a:off x="1437188" y="223779"/>
          <a:ext cx="1062640" cy="123078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  <dgm:t>
        <a:bodyPr/>
        <a:lstStyle/>
        <a:p>
          <a:endParaRPr lang="en-US"/>
        </a:p>
      </dgm:t>
    </dgm:pt>
    <dgm:pt modelId="{1738D78F-4D78-4A1D-92DB-C4617843A653}" type="pres">
      <dgm:prSet presAssocID="{EFED7F19-EFF3-45CD-B804-4552FE78F2DD}" presName="sibTrans" presStyleLbl="sibTrans2D1" presStyleIdx="0" presStyleCnt="0"/>
      <dgm:spPr/>
      <dgm:t>
        <a:bodyPr/>
        <a:lstStyle/>
        <a:p>
          <a:endParaRPr lang="en-US"/>
        </a:p>
      </dgm:t>
    </dgm:pt>
    <dgm:pt modelId="{1AD3290D-F410-453C-B66D-9D70AA9AEE10}" type="pres">
      <dgm:prSet presAssocID="{D3231D78-FE4F-48EF-9A57-515DED5DF738}" presName="compNode" presStyleCnt="0"/>
      <dgm:spPr/>
    </dgm:pt>
    <dgm:pt modelId="{16B7145D-2AC9-4FD6-9F02-F7BCBD0BAC18}" type="pres">
      <dgm:prSet presAssocID="{D3231D78-FE4F-48EF-9A57-515DED5DF738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30A89F-4C79-401F-9EE7-0841B586C37A}" type="pres">
      <dgm:prSet presAssocID="{D3231D78-FE4F-48EF-9A57-515DED5DF738}" presName="invisiNode" presStyleLbl="node1" presStyleIdx="2" presStyleCnt="6"/>
      <dgm:spPr/>
    </dgm:pt>
    <dgm:pt modelId="{94B93750-99F6-4A79-9E64-DC5D463CF13A}" type="pres">
      <dgm:prSet presAssocID="{D3231D78-FE4F-48EF-9A57-515DED5DF738}" presName="imagNode" presStyleLbl="fgImgPlace1" presStyleIdx="2" presStyleCnt="6" custLinFactX="8603" custLinFactNeighborX="100000" custLinFactNeighborY="1320"/>
      <dgm:spPr>
        <a:xfrm>
          <a:off x="3760152" y="240025"/>
          <a:ext cx="1062640" cy="123078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  <dgm:t>
        <a:bodyPr/>
        <a:lstStyle/>
        <a:p>
          <a:endParaRPr lang="en-US"/>
        </a:p>
      </dgm:t>
    </dgm:pt>
    <dgm:pt modelId="{3F42CC00-37C8-42B2-954E-CE2F409CD809}" type="pres">
      <dgm:prSet presAssocID="{57C06AB3-5985-4B72-BBD4-59697D26AB99}" presName="sibTrans" presStyleLbl="sibTrans2D1" presStyleIdx="0" presStyleCnt="0"/>
      <dgm:spPr/>
      <dgm:t>
        <a:bodyPr/>
        <a:lstStyle/>
        <a:p>
          <a:endParaRPr lang="en-US"/>
        </a:p>
      </dgm:t>
    </dgm:pt>
    <dgm:pt modelId="{46B57C95-1008-4FDE-9B1F-5A90A4471E21}" type="pres">
      <dgm:prSet presAssocID="{3AA62540-72F3-4870-AE91-6CB6AF5A8D21}" presName="compNode" presStyleCnt="0"/>
      <dgm:spPr/>
    </dgm:pt>
    <dgm:pt modelId="{62AF300F-CBDF-4AE0-899F-FF313C43CA3F}" type="pres">
      <dgm:prSet presAssocID="{3AA62540-72F3-4870-AE91-6CB6AF5A8D21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5ED12D-DAC0-4401-8BC2-B5BE447E74EF}" type="pres">
      <dgm:prSet presAssocID="{3AA62540-72F3-4870-AE91-6CB6AF5A8D21}" presName="invisiNode" presStyleLbl="node1" presStyleIdx="3" presStyleCnt="6"/>
      <dgm:spPr/>
    </dgm:pt>
    <dgm:pt modelId="{0A255626-4AA2-475B-8AF4-BD09071F7BE4}" type="pres">
      <dgm:prSet presAssocID="{3AA62540-72F3-4870-AE91-6CB6AF5A8D21}" presName="imagNode" presStyleLbl="fgImgPlace1" presStyleIdx="3" presStyleCnt="6" custLinFactX="-10000" custLinFactNeighborX="-100000" custLinFactNeighborY="660"/>
      <dgm:spPr>
        <a:xfrm>
          <a:off x="2606093" y="231902"/>
          <a:ext cx="1062640" cy="123078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  <dgm:t>
        <a:bodyPr/>
        <a:lstStyle/>
        <a:p>
          <a:endParaRPr lang="en-US"/>
        </a:p>
      </dgm:t>
    </dgm:pt>
    <dgm:pt modelId="{77BD9A25-8988-4BCF-A5E7-EDFC077CE25A}" type="pres">
      <dgm:prSet presAssocID="{3ED916DB-F5AD-4DEA-AC3F-92AD024D4E98}" presName="sibTrans" presStyleLbl="sibTrans2D1" presStyleIdx="0" presStyleCnt="0"/>
      <dgm:spPr/>
      <dgm:t>
        <a:bodyPr/>
        <a:lstStyle/>
        <a:p>
          <a:endParaRPr lang="en-US"/>
        </a:p>
      </dgm:t>
    </dgm:pt>
    <dgm:pt modelId="{7999E5A9-E949-4659-B8C5-D714FCBCD192}" type="pres">
      <dgm:prSet presAssocID="{8F9DE429-6C18-4DE3-8DD5-B4436B097BF6}" presName="compNode" presStyleCnt="0"/>
      <dgm:spPr/>
    </dgm:pt>
    <dgm:pt modelId="{4792B26F-589E-45D4-9EB6-54CEFDBF9D68}" type="pres">
      <dgm:prSet presAssocID="{8F9DE429-6C18-4DE3-8DD5-B4436B097BF6}" presName="node" presStyleLbl="node1" presStyleIdx="4" presStyleCnt="6" custScaleX="990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B4689A-8DCB-49E3-AD95-A0464AAB8382}" type="pres">
      <dgm:prSet presAssocID="{8F9DE429-6C18-4DE3-8DD5-B4436B097BF6}" presName="invisiNode" presStyleLbl="node1" presStyleIdx="4" presStyleCnt="6"/>
      <dgm:spPr/>
    </dgm:pt>
    <dgm:pt modelId="{C8EE1A2B-C499-4312-8654-A799B3EC3C12}" type="pres">
      <dgm:prSet presAssocID="{8F9DE429-6C18-4DE3-8DD5-B4436B097BF6}" presName="imagNode" presStyleLbl="fgImgPlace1" presStyleIdx="4" presStyleCnt="6"/>
      <dgm:spPr>
        <a:xfrm>
          <a:off x="5039104" y="223779"/>
          <a:ext cx="1062640" cy="123078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  <dgm:t>
        <a:bodyPr/>
        <a:lstStyle/>
        <a:p>
          <a:endParaRPr lang="en-US"/>
        </a:p>
      </dgm:t>
    </dgm:pt>
    <dgm:pt modelId="{8E54733C-7142-4BF1-BE00-0A14EC77836D}" type="pres">
      <dgm:prSet presAssocID="{7CEAE597-8C31-49F3-BDBE-D8D31CAF48A1}" presName="sibTrans" presStyleLbl="sibTrans2D1" presStyleIdx="0" presStyleCnt="0"/>
      <dgm:spPr/>
      <dgm:t>
        <a:bodyPr/>
        <a:lstStyle/>
        <a:p>
          <a:endParaRPr lang="en-US"/>
        </a:p>
      </dgm:t>
    </dgm:pt>
    <dgm:pt modelId="{36B328BA-17F7-4F18-9E4F-033D6A79B311}" type="pres">
      <dgm:prSet presAssocID="{03A356B2-D472-4414-BB9F-C7E66A027E69}" presName="compNode" presStyleCnt="0"/>
      <dgm:spPr/>
    </dgm:pt>
    <dgm:pt modelId="{FD9ED4AB-53A7-43C2-895A-2997D611C455}" type="pres">
      <dgm:prSet presAssocID="{03A356B2-D472-4414-BB9F-C7E66A027E69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ED2E99-DEB5-4EB7-939A-52EF671B8F52}" type="pres">
      <dgm:prSet presAssocID="{03A356B2-D472-4414-BB9F-C7E66A027E69}" presName="invisiNode" presStyleLbl="node1" presStyleIdx="5" presStyleCnt="6"/>
      <dgm:spPr/>
    </dgm:pt>
    <dgm:pt modelId="{926E9CDD-A5C2-4668-8CA4-5DECDE341B6C}" type="pres">
      <dgm:prSet presAssocID="{03A356B2-D472-4414-BB9F-C7E66A027E69}" presName="imagNode" presStyleLbl="fgImgPlace1" presStyleIdx="5" presStyleCnt="6"/>
      <dgm:spPr>
        <a:xfrm>
          <a:off x="6303210" y="223779"/>
          <a:ext cx="1062640" cy="123078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gm:spPr>
      <dgm:t>
        <a:bodyPr/>
        <a:lstStyle/>
        <a:p>
          <a:endParaRPr lang="en-US"/>
        </a:p>
      </dgm:t>
    </dgm:pt>
  </dgm:ptLst>
  <dgm:cxnLst>
    <dgm:cxn modelId="{1CC7ED0D-9915-456C-ADA1-9AEE6CC0A15A}" type="presOf" srcId="{4118AD7D-F8E3-4648-BBE2-B6627FDF6B51}" destId="{A142F35C-1D6F-40E1-ADD5-B05675539341}" srcOrd="0" destOrd="0" presId="urn:microsoft.com/office/officeart/2005/8/layout/pList2"/>
    <dgm:cxn modelId="{EB11D70B-4869-46F0-8E0E-D8AD2288C8EC}" srcId="{4118AD7D-F8E3-4648-BBE2-B6627FDF6B51}" destId="{03A356B2-D472-4414-BB9F-C7E66A027E69}" srcOrd="5" destOrd="0" parTransId="{9F2FC2E0-997B-418D-A107-A414F9D5AA00}" sibTransId="{2B821790-F5AD-4CF3-BE31-95EC26CA84C9}"/>
    <dgm:cxn modelId="{0363880B-5DEA-4191-B97C-213CBC19AE10}" type="presOf" srcId="{57C06AB3-5985-4B72-BBD4-59697D26AB99}" destId="{3F42CC00-37C8-42B2-954E-CE2F409CD809}" srcOrd="0" destOrd="0" presId="urn:microsoft.com/office/officeart/2005/8/layout/pList2"/>
    <dgm:cxn modelId="{76E3A790-5487-48B2-BE80-10E845FED782}" srcId="{4118AD7D-F8E3-4648-BBE2-B6627FDF6B51}" destId="{D3231D78-FE4F-48EF-9A57-515DED5DF738}" srcOrd="2" destOrd="0" parTransId="{C6827A13-E51D-4E34-B11F-019709754C14}" sibTransId="{57C06AB3-5985-4B72-BBD4-59697D26AB99}"/>
    <dgm:cxn modelId="{EBC24F52-E7B0-4027-97DF-6685D43B1A05}" type="presOf" srcId="{3AA62540-72F3-4870-AE91-6CB6AF5A8D21}" destId="{62AF300F-CBDF-4AE0-899F-FF313C43CA3F}" srcOrd="0" destOrd="0" presId="urn:microsoft.com/office/officeart/2005/8/layout/pList2"/>
    <dgm:cxn modelId="{EF9357DA-6334-4F22-8D3F-56EC68DD90CB}" type="presOf" srcId="{B01B4D49-D23B-449E-A015-E1FDFF605B11}" destId="{7759CFB4-31F2-4288-BF43-0D0E027725BE}" srcOrd="0" destOrd="0" presId="urn:microsoft.com/office/officeart/2005/8/layout/pList2"/>
    <dgm:cxn modelId="{EC0A62BE-658F-470C-87E2-11186C534063}" srcId="{4118AD7D-F8E3-4648-BBE2-B6627FDF6B51}" destId="{8F9DE429-6C18-4DE3-8DD5-B4436B097BF6}" srcOrd="4" destOrd="0" parTransId="{9DF79E16-0738-48CA-8113-7F50B7774DDA}" sibTransId="{7CEAE597-8C31-49F3-BDBE-D8D31CAF48A1}"/>
    <dgm:cxn modelId="{A25A25C1-71B0-45A0-987A-E97EB9F3AB62}" type="presOf" srcId="{7CEAE597-8C31-49F3-BDBE-D8D31CAF48A1}" destId="{8E54733C-7142-4BF1-BE00-0A14EC77836D}" srcOrd="0" destOrd="0" presId="urn:microsoft.com/office/officeart/2005/8/layout/pList2"/>
    <dgm:cxn modelId="{24FA14E9-2D8C-47F1-9A8A-CFDBEE394E5D}" type="presOf" srcId="{3A90593F-B3B7-4185-A61D-8B19CEBA879D}" destId="{3A727BF6-5FAD-44B2-9BE9-45055420FE0A}" srcOrd="0" destOrd="0" presId="urn:microsoft.com/office/officeart/2005/8/layout/pList2"/>
    <dgm:cxn modelId="{76879DEF-543F-44F5-8725-59FC84C9BD50}" type="presOf" srcId="{3ED916DB-F5AD-4DEA-AC3F-92AD024D4E98}" destId="{77BD9A25-8988-4BCF-A5E7-EDFC077CE25A}" srcOrd="0" destOrd="0" presId="urn:microsoft.com/office/officeart/2005/8/layout/pList2"/>
    <dgm:cxn modelId="{93F7FB4D-EC55-43EC-8E65-23790ECDFACD}" type="presOf" srcId="{03A356B2-D472-4414-BB9F-C7E66A027E69}" destId="{FD9ED4AB-53A7-43C2-895A-2997D611C455}" srcOrd="0" destOrd="0" presId="urn:microsoft.com/office/officeart/2005/8/layout/pList2"/>
    <dgm:cxn modelId="{4391395A-9777-4E34-B8A4-2403563D7DB0}" srcId="{4118AD7D-F8E3-4648-BBE2-B6627FDF6B51}" destId="{3AA62540-72F3-4870-AE91-6CB6AF5A8D21}" srcOrd="3" destOrd="0" parTransId="{6A771E2A-1A9B-4C6F-AA83-B1AAF8AA15AB}" sibTransId="{3ED916DB-F5AD-4DEA-AC3F-92AD024D4E98}"/>
    <dgm:cxn modelId="{6B64A052-265D-4BA5-8809-FD570E2C5B55}" type="presOf" srcId="{8F9DE429-6C18-4DE3-8DD5-B4436B097BF6}" destId="{4792B26F-589E-45D4-9EB6-54CEFDBF9D68}" srcOrd="0" destOrd="0" presId="urn:microsoft.com/office/officeart/2005/8/layout/pList2"/>
    <dgm:cxn modelId="{6468E6F1-0533-41BD-993D-2020F736BA00}" type="presOf" srcId="{B2EB2599-6D65-4B3B-B6A8-1AECE0B5B5EA}" destId="{25E99C7B-5675-4F33-A006-F41517BABAC9}" srcOrd="0" destOrd="0" presId="urn:microsoft.com/office/officeart/2005/8/layout/pList2"/>
    <dgm:cxn modelId="{26DEC1B3-90F6-4AA0-B802-4185501A51C0}" type="presOf" srcId="{EFED7F19-EFF3-45CD-B804-4552FE78F2DD}" destId="{1738D78F-4D78-4A1D-92DB-C4617843A653}" srcOrd="0" destOrd="0" presId="urn:microsoft.com/office/officeart/2005/8/layout/pList2"/>
    <dgm:cxn modelId="{9847CF16-684D-457A-810E-701FD071871C}" type="presOf" srcId="{D3231D78-FE4F-48EF-9A57-515DED5DF738}" destId="{16B7145D-2AC9-4FD6-9F02-F7BCBD0BAC18}" srcOrd="0" destOrd="0" presId="urn:microsoft.com/office/officeart/2005/8/layout/pList2"/>
    <dgm:cxn modelId="{328D3047-7CE3-4940-90D3-E416C658F52F}" srcId="{4118AD7D-F8E3-4648-BBE2-B6627FDF6B51}" destId="{B2EB2599-6D65-4B3B-B6A8-1AECE0B5B5EA}" srcOrd="1" destOrd="0" parTransId="{AADBDC09-907C-4CB9-8490-DD04D39CF5C5}" sibTransId="{EFED7F19-EFF3-45CD-B804-4552FE78F2DD}"/>
    <dgm:cxn modelId="{1772BF75-90A6-443B-AED5-1AF711B8A3D8}" srcId="{4118AD7D-F8E3-4648-BBE2-B6627FDF6B51}" destId="{B01B4D49-D23B-449E-A015-E1FDFF605B11}" srcOrd="0" destOrd="0" parTransId="{77E0035F-CAE0-46EF-8385-80C5160F960D}" sibTransId="{3A90593F-B3B7-4185-A61D-8B19CEBA879D}"/>
    <dgm:cxn modelId="{F33D7035-8E66-4C9E-AB0F-2CA2FA88549E}" type="presParOf" srcId="{A142F35C-1D6F-40E1-ADD5-B05675539341}" destId="{6ED5FCEC-8E62-41B2-8EE5-247705B7F999}" srcOrd="0" destOrd="0" presId="urn:microsoft.com/office/officeart/2005/8/layout/pList2"/>
    <dgm:cxn modelId="{F9A648BF-8B4C-4655-AC05-B8B3149D366D}" type="presParOf" srcId="{A142F35C-1D6F-40E1-ADD5-B05675539341}" destId="{997B4B56-D9FA-4410-B624-C09C5A14998A}" srcOrd="1" destOrd="0" presId="urn:microsoft.com/office/officeart/2005/8/layout/pList2"/>
    <dgm:cxn modelId="{749F01A0-A865-47AA-A9EF-7785BB99136F}" type="presParOf" srcId="{997B4B56-D9FA-4410-B624-C09C5A14998A}" destId="{DA10ADF2-2C44-4E01-9A6F-AEAB85C5F37C}" srcOrd="0" destOrd="0" presId="urn:microsoft.com/office/officeart/2005/8/layout/pList2"/>
    <dgm:cxn modelId="{1289C195-42E5-4267-8CA4-BAFD6A665AF7}" type="presParOf" srcId="{DA10ADF2-2C44-4E01-9A6F-AEAB85C5F37C}" destId="{7759CFB4-31F2-4288-BF43-0D0E027725BE}" srcOrd="0" destOrd="0" presId="urn:microsoft.com/office/officeart/2005/8/layout/pList2"/>
    <dgm:cxn modelId="{98DC0415-81B5-4FFB-89AB-57243C300737}" type="presParOf" srcId="{DA10ADF2-2C44-4E01-9A6F-AEAB85C5F37C}" destId="{6BDCFBBC-FEE7-4A49-AA5D-875477F906EB}" srcOrd="1" destOrd="0" presId="urn:microsoft.com/office/officeart/2005/8/layout/pList2"/>
    <dgm:cxn modelId="{4A8E9E23-A5BD-47CF-A307-EBD7DB949E30}" type="presParOf" srcId="{DA10ADF2-2C44-4E01-9A6F-AEAB85C5F37C}" destId="{3D842937-B958-4186-9FFC-AAA1B7F6E2C5}" srcOrd="2" destOrd="0" presId="urn:microsoft.com/office/officeart/2005/8/layout/pList2"/>
    <dgm:cxn modelId="{BA87F8D1-018E-47A5-B5BF-4E51FAFD006A}" type="presParOf" srcId="{997B4B56-D9FA-4410-B624-C09C5A14998A}" destId="{3A727BF6-5FAD-44B2-9BE9-45055420FE0A}" srcOrd="1" destOrd="0" presId="urn:microsoft.com/office/officeart/2005/8/layout/pList2"/>
    <dgm:cxn modelId="{E9B52068-370A-4887-AD5C-BBEA7B25C2B0}" type="presParOf" srcId="{997B4B56-D9FA-4410-B624-C09C5A14998A}" destId="{F31301E1-B8F7-4D78-809E-3FC9C9F9438D}" srcOrd="2" destOrd="0" presId="urn:microsoft.com/office/officeart/2005/8/layout/pList2"/>
    <dgm:cxn modelId="{75F00A7E-795A-4BA8-8C40-872D7D28983D}" type="presParOf" srcId="{F31301E1-B8F7-4D78-809E-3FC9C9F9438D}" destId="{25E99C7B-5675-4F33-A006-F41517BABAC9}" srcOrd="0" destOrd="0" presId="urn:microsoft.com/office/officeart/2005/8/layout/pList2"/>
    <dgm:cxn modelId="{14D096B2-FFBB-4FC4-AB8B-50BE872F9882}" type="presParOf" srcId="{F31301E1-B8F7-4D78-809E-3FC9C9F9438D}" destId="{6F2BAC4C-5048-4E12-9EDC-2A02D55EFF6E}" srcOrd="1" destOrd="0" presId="urn:microsoft.com/office/officeart/2005/8/layout/pList2"/>
    <dgm:cxn modelId="{EE7A1979-F4D0-41E3-9E1C-B3146655ED03}" type="presParOf" srcId="{F31301E1-B8F7-4D78-809E-3FC9C9F9438D}" destId="{0A722DE0-55D5-43CC-861D-3AE221B73FC3}" srcOrd="2" destOrd="0" presId="urn:microsoft.com/office/officeart/2005/8/layout/pList2"/>
    <dgm:cxn modelId="{84EBBB6E-0AFE-44DC-935A-83BD42DC0B16}" type="presParOf" srcId="{997B4B56-D9FA-4410-B624-C09C5A14998A}" destId="{1738D78F-4D78-4A1D-92DB-C4617843A653}" srcOrd="3" destOrd="0" presId="urn:microsoft.com/office/officeart/2005/8/layout/pList2"/>
    <dgm:cxn modelId="{5083DC0C-57ED-4406-8E6C-7911C0581B26}" type="presParOf" srcId="{997B4B56-D9FA-4410-B624-C09C5A14998A}" destId="{1AD3290D-F410-453C-B66D-9D70AA9AEE10}" srcOrd="4" destOrd="0" presId="urn:microsoft.com/office/officeart/2005/8/layout/pList2"/>
    <dgm:cxn modelId="{43B63F7F-930F-4688-9E81-5A8E76A40522}" type="presParOf" srcId="{1AD3290D-F410-453C-B66D-9D70AA9AEE10}" destId="{16B7145D-2AC9-4FD6-9F02-F7BCBD0BAC18}" srcOrd="0" destOrd="0" presId="urn:microsoft.com/office/officeart/2005/8/layout/pList2"/>
    <dgm:cxn modelId="{636E60E6-7F54-4561-BC39-1D253CB243AF}" type="presParOf" srcId="{1AD3290D-F410-453C-B66D-9D70AA9AEE10}" destId="{C230A89F-4C79-401F-9EE7-0841B586C37A}" srcOrd="1" destOrd="0" presId="urn:microsoft.com/office/officeart/2005/8/layout/pList2"/>
    <dgm:cxn modelId="{C3C5C413-C063-4C60-9EF6-A1847AA8563D}" type="presParOf" srcId="{1AD3290D-F410-453C-B66D-9D70AA9AEE10}" destId="{94B93750-99F6-4A79-9E64-DC5D463CF13A}" srcOrd="2" destOrd="0" presId="urn:microsoft.com/office/officeart/2005/8/layout/pList2"/>
    <dgm:cxn modelId="{8DECBE24-06F5-448D-8450-023BC5EFC8A2}" type="presParOf" srcId="{997B4B56-D9FA-4410-B624-C09C5A14998A}" destId="{3F42CC00-37C8-42B2-954E-CE2F409CD809}" srcOrd="5" destOrd="0" presId="urn:microsoft.com/office/officeart/2005/8/layout/pList2"/>
    <dgm:cxn modelId="{738C2AC3-5BC3-43FD-B349-755023DD217C}" type="presParOf" srcId="{997B4B56-D9FA-4410-B624-C09C5A14998A}" destId="{46B57C95-1008-4FDE-9B1F-5A90A4471E21}" srcOrd="6" destOrd="0" presId="urn:microsoft.com/office/officeart/2005/8/layout/pList2"/>
    <dgm:cxn modelId="{0ACAEE96-ECE8-4489-A30B-775466D7817A}" type="presParOf" srcId="{46B57C95-1008-4FDE-9B1F-5A90A4471E21}" destId="{62AF300F-CBDF-4AE0-899F-FF313C43CA3F}" srcOrd="0" destOrd="0" presId="urn:microsoft.com/office/officeart/2005/8/layout/pList2"/>
    <dgm:cxn modelId="{69DDA021-747D-4D9B-BDE1-ECF51E425D3F}" type="presParOf" srcId="{46B57C95-1008-4FDE-9B1F-5A90A4471E21}" destId="{B15ED12D-DAC0-4401-8BC2-B5BE447E74EF}" srcOrd="1" destOrd="0" presId="urn:microsoft.com/office/officeart/2005/8/layout/pList2"/>
    <dgm:cxn modelId="{6F38D90D-5D03-4025-AB65-75444111C332}" type="presParOf" srcId="{46B57C95-1008-4FDE-9B1F-5A90A4471E21}" destId="{0A255626-4AA2-475B-8AF4-BD09071F7BE4}" srcOrd="2" destOrd="0" presId="urn:microsoft.com/office/officeart/2005/8/layout/pList2"/>
    <dgm:cxn modelId="{B9263781-1945-4E62-B50E-EC1C0C951BFD}" type="presParOf" srcId="{997B4B56-D9FA-4410-B624-C09C5A14998A}" destId="{77BD9A25-8988-4BCF-A5E7-EDFC077CE25A}" srcOrd="7" destOrd="0" presId="urn:microsoft.com/office/officeart/2005/8/layout/pList2"/>
    <dgm:cxn modelId="{18D6C7CB-0DBA-4854-B984-8E5658474F9E}" type="presParOf" srcId="{997B4B56-D9FA-4410-B624-C09C5A14998A}" destId="{7999E5A9-E949-4659-B8C5-D714FCBCD192}" srcOrd="8" destOrd="0" presId="urn:microsoft.com/office/officeart/2005/8/layout/pList2"/>
    <dgm:cxn modelId="{C4B2E5CF-ECB6-4AAC-A181-45C0EA10016F}" type="presParOf" srcId="{7999E5A9-E949-4659-B8C5-D714FCBCD192}" destId="{4792B26F-589E-45D4-9EB6-54CEFDBF9D68}" srcOrd="0" destOrd="0" presId="urn:microsoft.com/office/officeart/2005/8/layout/pList2"/>
    <dgm:cxn modelId="{FBFF03D7-4F57-4462-8432-4AB499BEC3CD}" type="presParOf" srcId="{7999E5A9-E949-4659-B8C5-D714FCBCD192}" destId="{F8B4689A-8DCB-49E3-AD95-A0464AAB8382}" srcOrd="1" destOrd="0" presId="urn:microsoft.com/office/officeart/2005/8/layout/pList2"/>
    <dgm:cxn modelId="{D3AFDA85-BED0-4812-AE55-2C93C8A2B66C}" type="presParOf" srcId="{7999E5A9-E949-4659-B8C5-D714FCBCD192}" destId="{C8EE1A2B-C499-4312-8654-A799B3EC3C12}" srcOrd="2" destOrd="0" presId="urn:microsoft.com/office/officeart/2005/8/layout/pList2"/>
    <dgm:cxn modelId="{5AB3F547-CC47-4799-BD6E-9DF74B8933B1}" type="presParOf" srcId="{997B4B56-D9FA-4410-B624-C09C5A14998A}" destId="{8E54733C-7142-4BF1-BE00-0A14EC77836D}" srcOrd="9" destOrd="0" presId="urn:microsoft.com/office/officeart/2005/8/layout/pList2"/>
    <dgm:cxn modelId="{3E9DD7B6-3C09-41E2-B66D-B8B18B878A31}" type="presParOf" srcId="{997B4B56-D9FA-4410-B624-C09C5A14998A}" destId="{36B328BA-17F7-4F18-9E4F-033D6A79B311}" srcOrd="10" destOrd="0" presId="urn:microsoft.com/office/officeart/2005/8/layout/pList2"/>
    <dgm:cxn modelId="{22F3B5AD-9737-461D-88AD-DDD9F21EB947}" type="presParOf" srcId="{36B328BA-17F7-4F18-9E4F-033D6A79B311}" destId="{FD9ED4AB-53A7-43C2-895A-2997D611C455}" srcOrd="0" destOrd="0" presId="urn:microsoft.com/office/officeart/2005/8/layout/pList2"/>
    <dgm:cxn modelId="{254BF0ED-7B72-4451-8B4C-E2ED83F2BE2D}" type="presParOf" srcId="{36B328BA-17F7-4F18-9E4F-033D6A79B311}" destId="{FDED2E99-DEB5-4EB7-939A-52EF671B8F52}" srcOrd="1" destOrd="0" presId="urn:microsoft.com/office/officeart/2005/8/layout/pList2"/>
    <dgm:cxn modelId="{9FB030FE-2606-4626-A84A-9D2B9450A97A}" type="presParOf" srcId="{36B328BA-17F7-4F18-9E4F-033D6A79B311}" destId="{926E9CDD-A5C2-4668-8CA4-5DECDE341B6C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B9BEA3-332D-418D-895D-CB88ED63E027}" type="doc">
      <dgm:prSet loTypeId="urn:microsoft.com/office/officeart/2008/layout/HexagonCluster" loCatId="relationship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027E571B-54BD-4590-BAF1-254AF8475AC9}">
      <dgm:prSet phldrT="[Texte]" custT="1"/>
      <dgm:spPr>
        <a:solidFill>
          <a:srgbClr val="0070C0"/>
        </a:solidFill>
        <a:ln>
          <a:solidFill>
            <a:srgbClr val="33CCFF"/>
          </a:solidFill>
        </a:ln>
      </dgm:spPr>
      <dgm:t>
        <a:bodyPr/>
        <a:lstStyle/>
        <a:p>
          <a:r>
            <a:rPr lang="en-US" sz="1600" dirty="0" smtClean="0"/>
            <a:t>1 ambassador</a:t>
          </a:r>
          <a:endParaRPr lang="en-US" sz="1600" dirty="0"/>
        </a:p>
      </dgm:t>
    </dgm:pt>
    <dgm:pt modelId="{FA3522FC-AB41-4037-A972-B0412D75A3DE}" type="parTrans" cxnId="{636611F7-ABF6-43B9-8528-A8B7E89F6971}">
      <dgm:prSet/>
      <dgm:spPr/>
      <dgm:t>
        <a:bodyPr/>
        <a:lstStyle/>
        <a:p>
          <a:endParaRPr lang="en-US"/>
        </a:p>
      </dgm:t>
    </dgm:pt>
    <dgm:pt modelId="{5FDDB0B6-02E5-47FB-B2EC-C167B315E16C}" type="sibTrans" cxnId="{636611F7-ABF6-43B9-8528-A8B7E89F6971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  <a:ln>
          <a:solidFill>
            <a:srgbClr val="00B0F0"/>
          </a:solidFill>
        </a:ln>
      </dgm:spPr>
      <dgm:t>
        <a:bodyPr/>
        <a:lstStyle/>
        <a:p>
          <a:endParaRPr lang="en-US"/>
        </a:p>
      </dgm:t>
    </dgm:pt>
    <dgm:pt modelId="{1BCF9116-0C52-4B93-B048-99462436711E}">
      <dgm:prSet phldrT="[Texte]" custT="1"/>
      <dgm:spPr>
        <a:solidFill>
          <a:srgbClr val="FFC000"/>
        </a:solidFill>
        <a:ln>
          <a:solidFill>
            <a:srgbClr val="FFC000"/>
          </a:solidFill>
        </a:ln>
      </dgm:spPr>
      <dgm:t>
        <a:bodyPr anchor="t"/>
        <a:lstStyle/>
        <a:p>
          <a:r>
            <a:rPr lang="en-US" sz="1800" b="1" dirty="0" smtClean="0"/>
            <a:t>2 countries</a:t>
          </a:r>
          <a:endParaRPr lang="en-US" sz="1800" b="1" dirty="0"/>
        </a:p>
      </dgm:t>
    </dgm:pt>
    <dgm:pt modelId="{74E77D50-3DCA-43E6-8792-484A3A8634A7}" type="parTrans" cxnId="{0AE5B86E-BC1A-48FF-898B-4FEC66B42BA7}">
      <dgm:prSet/>
      <dgm:spPr/>
      <dgm:t>
        <a:bodyPr/>
        <a:lstStyle/>
        <a:p>
          <a:endParaRPr lang="en-US"/>
        </a:p>
      </dgm:t>
    </dgm:pt>
    <dgm:pt modelId="{28D20163-7717-40E0-B279-6837127B8DEB}" type="sibTrans" cxnId="{0AE5B86E-BC1A-48FF-898B-4FEC66B42BA7}">
      <dgm:prSet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2000" r="-32000"/>
          </a:stretch>
        </a:blipFill>
        <a:ln>
          <a:solidFill>
            <a:srgbClr val="FFC000"/>
          </a:solidFill>
        </a:ln>
      </dgm:spPr>
      <dgm:t>
        <a:bodyPr/>
        <a:lstStyle/>
        <a:p>
          <a:endParaRPr lang="en-US"/>
        </a:p>
      </dgm:t>
    </dgm:pt>
    <dgm:pt modelId="{77EC2E59-978A-4589-8F4A-FEAAA0EA68FC}">
      <dgm:prSet phldrT="[Texte]"/>
      <dgm:spPr>
        <a:solidFill>
          <a:srgbClr val="FF3399"/>
        </a:solidFill>
        <a:ln>
          <a:solidFill>
            <a:schemeClr val="accent1">
              <a:lumMod val="20000"/>
              <a:lumOff val="80000"/>
            </a:schemeClr>
          </a:solidFill>
        </a:ln>
      </dgm:spPr>
      <dgm:t>
        <a:bodyPr anchor="ctr"/>
        <a:lstStyle/>
        <a:p>
          <a:r>
            <a:rPr lang="en-US" sz="1400" dirty="0" smtClean="0"/>
            <a:t>	</a:t>
          </a:r>
          <a:endParaRPr lang="en-US" sz="1400" dirty="0"/>
        </a:p>
      </dgm:t>
    </dgm:pt>
    <dgm:pt modelId="{A2AFBEA5-054B-43B0-8221-FCE0FCB48308}" type="parTrans" cxnId="{940CEEB3-89D9-4CA9-8EC0-A713CF99677C}">
      <dgm:prSet/>
      <dgm:spPr/>
      <dgm:t>
        <a:bodyPr/>
        <a:lstStyle/>
        <a:p>
          <a:endParaRPr lang="en-US"/>
        </a:p>
      </dgm:t>
    </dgm:pt>
    <dgm:pt modelId="{3815BB63-D057-486B-AC75-C41E51E464C9}" type="sibTrans" cxnId="{940CEEB3-89D9-4CA9-8EC0-A713CF99677C}">
      <dgm:prSet/>
      <dgm:spPr>
        <a:blipFill rotWithShape="1">
          <a:blip xmlns:r="http://schemas.openxmlformats.org/officeDocument/2006/relationships" r:embed="rId3"/>
          <a:stretch>
            <a:fillRect/>
          </a:stretch>
        </a:blipFill>
        <a:ln>
          <a:solidFill>
            <a:srgbClr val="00B050"/>
          </a:solidFill>
        </a:ln>
      </dgm:spPr>
      <dgm:t>
        <a:bodyPr/>
        <a:lstStyle/>
        <a:p>
          <a:endParaRPr lang="en-US"/>
        </a:p>
      </dgm:t>
    </dgm:pt>
    <dgm:pt modelId="{BAC6ED2D-06B2-449E-BB4B-EE0417E1E859}">
      <dgm:prSet phldrT="[Texte]" custT="1"/>
      <dgm:spPr>
        <a:solidFill>
          <a:srgbClr val="FF3399"/>
        </a:solidFill>
        <a:ln>
          <a:solidFill>
            <a:schemeClr val="accent1">
              <a:lumMod val="20000"/>
              <a:lumOff val="80000"/>
            </a:schemeClr>
          </a:solidFill>
        </a:ln>
      </dgm:spPr>
      <dgm:t>
        <a:bodyPr anchor="ctr"/>
        <a:lstStyle/>
        <a:p>
          <a:r>
            <a:rPr lang="en-US" sz="1200" dirty="0" smtClean="0"/>
            <a:t>Management</a:t>
          </a:r>
          <a:endParaRPr lang="en-US" sz="1200" dirty="0"/>
        </a:p>
      </dgm:t>
    </dgm:pt>
    <dgm:pt modelId="{815AB929-8D79-48BA-8076-EF96BD55395F}" type="parTrans" cxnId="{CA18C04E-C70E-4B20-B34A-237FB8C3ECB2}">
      <dgm:prSet/>
      <dgm:spPr/>
      <dgm:t>
        <a:bodyPr/>
        <a:lstStyle/>
        <a:p>
          <a:endParaRPr lang="en-US"/>
        </a:p>
      </dgm:t>
    </dgm:pt>
    <dgm:pt modelId="{58EC255F-A7E0-45F4-BE23-62E8B6BDD424}" type="sibTrans" cxnId="{CA18C04E-C70E-4B20-B34A-237FB8C3ECB2}">
      <dgm:prSet/>
      <dgm:spPr/>
      <dgm:t>
        <a:bodyPr/>
        <a:lstStyle/>
        <a:p>
          <a:endParaRPr lang="en-US"/>
        </a:p>
      </dgm:t>
    </dgm:pt>
    <dgm:pt modelId="{861EEEE2-EAAE-46F4-A43B-608DFA0B8CC4}">
      <dgm:prSet phldrT="[Texte]" custT="1"/>
      <dgm:spPr>
        <a:solidFill>
          <a:srgbClr val="FF3399"/>
        </a:solidFill>
        <a:ln>
          <a:solidFill>
            <a:schemeClr val="accent1">
              <a:lumMod val="20000"/>
              <a:lumOff val="80000"/>
            </a:schemeClr>
          </a:solidFill>
        </a:ln>
      </dgm:spPr>
      <dgm:t>
        <a:bodyPr anchor="ctr"/>
        <a:lstStyle/>
        <a:p>
          <a:r>
            <a:rPr lang="en-US" sz="1200" dirty="0" smtClean="0"/>
            <a:t>Marketing</a:t>
          </a:r>
          <a:endParaRPr lang="en-US" sz="1200" dirty="0"/>
        </a:p>
      </dgm:t>
    </dgm:pt>
    <dgm:pt modelId="{DE9D38A4-C52F-4738-B5E1-5986AAF69350}" type="parTrans" cxnId="{F31321BE-A660-48E7-8B73-53E85B64402E}">
      <dgm:prSet/>
      <dgm:spPr/>
      <dgm:t>
        <a:bodyPr/>
        <a:lstStyle/>
        <a:p>
          <a:endParaRPr lang="en-US"/>
        </a:p>
      </dgm:t>
    </dgm:pt>
    <dgm:pt modelId="{06269AEC-9602-407F-98D4-1E70BF1ACD2A}" type="sibTrans" cxnId="{F31321BE-A660-48E7-8B73-53E85B64402E}">
      <dgm:prSet/>
      <dgm:spPr/>
      <dgm:t>
        <a:bodyPr/>
        <a:lstStyle/>
        <a:p>
          <a:endParaRPr lang="en-US"/>
        </a:p>
      </dgm:t>
    </dgm:pt>
    <dgm:pt modelId="{0F0FE396-FBAA-4FBB-B57B-146CF435B551}">
      <dgm:prSet phldrT="[Texte]" custT="1"/>
      <dgm:spPr>
        <a:solidFill>
          <a:srgbClr val="FF3399"/>
        </a:solidFill>
        <a:ln>
          <a:solidFill>
            <a:schemeClr val="accent1">
              <a:lumMod val="20000"/>
              <a:lumOff val="80000"/>
            </a:schemeClr>
          </a:solidFill>
        </a:ln>
      </dgm:spPr>
      <dgm:t>
        <a:bodyPr anchor="ctr"/>
        <a:lstStyle/>
        <a:p>
          <a:r>
            <a:rPr lang="en-US" sz="1200" dirty="0" smtClean="0"/>
            <a:t>NPL</a:t>
          </a:r>
          <a:endParaRPr lang="en-US" sz="1200" dirty="0"/>
        </a:p>
      </dgm:t>
    </dgm:pt>
    <dgm:pt modelId="{D511B390-7022-429C-8FF0-471FCE703CF4}" type="parTrans" cxnId="{C8C67CFB-B29F-4BF9-8D33-442B57E61993}">
      <dgm:prSet/>
      <dgm:spPr/>
      <dgm:t>
        <a:bodyPr/>
        <a:lstStyle/>
        <a:p>
          <a:endParaRPr lang="en-US"/>
        </a:p>
      </dgm:t>
    </dgm:pt>
    <dgm:pt modelId="{678B736E-120A-435B-B2FD-A1D880A77BE4}" type="sibTrans" cxnId="{C8C67CFB-B29F-4BF9-8D33-442B57E61993}">
      <dgm:prSet/>
      <dgm:spPr/>
      <dgm:t>
        <a:bodyPr/>
        <a:lstStyle/>
        <a:p>
          <a:endParaRPr lang="en-US"/>
        </a:p>
      </dgm:t>
    </dgm:pt>
    <dgm:pt modelId="{81ED3B0E-3E6D-48BA-9345-7A167FFDC161}">
      <dgm:prSet phldrT="[Texte]" custT="1"/>
      <dgm:spPr>
        <a:solidFill>
          <a:srgbClr val="FF3399"/>
        </a:solidFill>
        <a:ln>
          <a:solidFill>
            <a:schemeClr val="accent1">
              <a:lumMod val="20000"/>
              <a:lumOff val="80000"/>
            </a:schemeClr>
          </a:solidFill>
        </a:ln>
      </dgm:spPr>
      <dgm:t>
        <a:bodyPr anchor="ctr"/>
        <a:lstStyle/>
        <a:p>
          <a:r>
            <a:rPr lang="en-US" sz="1200" dirty="0" smtClean="0"/>
            <a:t>Medical</a:t>
          </a:r>
          <a:endParaRPr lang="en-US" sz="1200" dirty="0"/>
        </a:p>
      </dgm:t>
    </dgm:pt>
    <dgm:pt modelId="{1ED52B18-559E-4E93-A71D-3D65BA461417}" type="parTrans" cxnId="{FA557718-4E42-4A74-BA6F-DFCEF79EABA2}">
      <dgm:prSet/>
      <dgm:spPr/>
      <dgm:t>
        <a:bodyPr/>
        <a:lstStyle/>
        <a:p>
          <a:endParaRPr lang="en-US"/>
        </a:p>
      </dgm:t>
    </dgm:pt>
    <dgm:pt modelId="{02E2EE0F-2F65-4325-8118-0C94523A1AF3}" type="sibTrans" cxnId="{FA557718-4E42-4A74-BA6F-DFCEF79EABA2}">
      <dgm:prSet/>
      <dgm:spPr/>
      <dgm:t>
        <a:bodyPr/>
        <a:lstStyle/>
        <a:p>
          <a:endParaRPr lang="en-US"/>
        </a:p>
      </dgm:t>
    </dgm:pt>
    <dgm:pt modelId="{543C4167-96E0-4AFD-BEE0-8C328D552DA4}">
      <dgm:prSet phldrT="[Texte]" custT="1"/>
      <dgm:spPr>
        <a:solidFill>
          <a:srgbClr val="FF9933"/>
        </a:solidFill>
        <a:ln>
          <a:solidFill>
            <a:srgbClr val="FFC000"/>
          </a:solidFill>
        </a:ln>
      </dgm:spPr>
      <dgm:t>
        <a:bodyPr/>
        <a:lstStyle/>
        <a:p>
          <a:r>
            <a:rPr lang="en-US" sz="1600" b="1" dirty="0" smtClean="0"/>
            <a:t>100% Awareness</a:t>
          </a:r>
        </a:p>
        <a:p>
          <a:r>
            <a:rPr lang="en-US" sz="1600" b="1" dirty="0" smtClean="0"/>
            <a:t>CHC Team</a:t>
          </a:r>
          <a:endParaRPr lang="en-US" sz="1600" b="1" dirty="0"/>
        </a:p>
      </dgm:t>
    </dgm:pt>
    <dgm:pt modelId="{A15EFB0D-C273-458C-9F21-53F3DEA0CE0A}" type="parTrans" cxnId="{C33903B4-811D-4FD7-8169-42CFA9DD3471}">
      <dgm:prSet/>
      <dgm:spPr/>
      <dgm:t>
        <a:bodyPr/>
        <a:lstStyle/>
        <a:p>
          <a:endParaRPr lang="en-US"/>
        </a:p>
      </dgm:t>
    </dgm:pt>
    <dgm:pt modelId="{B9FF2538-6737-416A-A8BB-F37DED3ECED5}" type="sibTrans" cxnId="{C33903B4-811D-4FD7-8169-42CFA9DD3471}">
      <dgm:prSet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  <a:ln>
          <a:solidFill>
            <a:schemeClr val="accent1">
              <a:lumMod val="20000"/>
              <a:lumOff val="80000"/>
            </a:schemeClr>
          </a:solidFill>
        </a:ln>
      </dgm:spPr>
      <dgm:t>
        <a:bodyPr/>
        <a:lstStyle/>
        <a:p>
          <a:endParaRPr lang="en-US"/>
        </a:p>
      </dgm:t>
    </dgm:pt>
    <dgm:pt modelId="{CD874FF1-01F1-4C45-BEA9-97A05595633F}">
      <dgm:prSet phldrT="[Texte]" custT="1"/>
      <dgm:spPr>
        <a:solidFill>
          <a:srgbClr val="00B050"/>
        </a:solidFill>
        <a:ln>
          <a:solidFill>
            <a:srgbClr val="92D050"/>
          </a:solidFill>
        </a:ln>
      </dgm:spPr>
      <dgm:t>
        <a:bodyPr/>
        <a:lstStyle/>
        <a:p>
          <a:r>
            <a:rPr lang="en-US" sz="1800" b="1" i="1" dirty="0" smtClean="0"/>
            <a:t>To Serve Healthier, Fuller Lives</a:t>
          </a:r>
          <a:endParaRPr lang="en-US" sz="1800" dirty="0"/>
        </a:p>
      </dgm:t>
    </dgm:pt>
    <dgm:pt modelId="{506971BB-D391-4B39-9B7A-D087D6BBF9DB}" type="parTrans" cxnId="{79BA3CD5-64F0-42D9-9C75-F36964027C7C}">
      <dgm:prSet/>
      <dgm:spPr/>
      <dgm:t>
        <a:bodyPr/>
        <a:lstStyle/>
        <a:p>
          <a:endParaRPr lang="en-US"/>
        </a:p>
      </dgm:t>
    </dgm:pt>
    <dgm:pt modelId="{694FA60E-70E3-4938-B846-25909A334B4B}" type="sibTrans" cxnId="{79BA3CD5-64F0-42D9-9C75-F36964027C7C}">
      <dgm:prSet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>
          <a:solidFill>
            <a:srgbClr val="FF3399"/>
          </a:solidFill>
        </a:ln>
      </dgm:spPr>
      <dgm:t>
        <a:bodyPr/>
        <a:lstStyle/>
        <a:p>
          <a:endParaRPr lang="en-US"/>
        </a:p>
      </dgm:t>
    </dgm:pt>
    <dgm:pt modelId="{F49263AD-599A-4BC3-A221-033CB951E511}">
      <dgm:prSet phldrT="[Texte]" custT="1"/>
      <dgm:spPr>
        <a:solidFill>
          <a:srgbClr val="FF3399"/>
        </a:solidFill>
        <a:ln>
          <a:solidFill>
            <a:schemeClr val="accent1">
              <a:lumMod val="20000"/>
              <a:lumOff val="80000"/>
            </a:schemeClr>
          </a:solidFill>
        </a:ln>
      </dgm:spPr>
      <dgm:t>
        <a:bodyPr anchor="ctr"/>
        <a:lstStyle/>
        <a:p>
          <a:r>
            <a:rPr lang="en-US" sz="1200" dirty="0" smtClean="0"/>
            <a:t>Sales Forces</a:t>
          </a:r>
          <a:endParaRPr lang="en-US" sz="1200" dirty="0"/>
        </a:p>
      </dgm:t>
    </dgm:pt>
    <dgm:pt modelId="{52CE718B-F1CA-4DDF-837A-AF24D123B0F1}" type="parTrans" cxnId="{E5125AFC-7DF3-4D0C-BF57-034ACE806288}">
      <dgm:prSet/>
      <dgm:spPr/>
      <dgm:t>
        <a:bodyPr/>
        <a:lstStyle/>
        <a:p>
          <a:endParaRPr lang="en-US"/>
        </a:p>
      </dgm:t>
    </dgm:pt>
    <dgm:pt modelId="{2429F6E0-EAAD-4A91-854D-C0A71AF42FD2}" type="sibTrans" cxnId="{E5125AFC-7DF3-4D0C-BF57-034ACE806288}">
      <dgm:prSet/>
      <dgm:spPr/>
      <dgm:t>
        <a:bodyPr/>
        <a:lstStyle/>
        <a:p>
          <a:endParaRPr lang="en-US"/>
        </a:p>
      </dgm:t>
    </dgm:pt>
    <dgm:pt modelId="{96DFAACE-F00E-4640-99E5-97B932F653DE}" type="pres">
      <dgm:prSet presAssocID="{00B9BEA3-332D-418D-895D-CB88ED63E027}" presName="Name0" presStyleCnt="0">
        <dgm:presLayoutVars>
          <dgm:chMax val="21"/>
          <dgm:chPref val="21"/>
        </dgm:presLayoutVars>
      </dgm:prSet>
      <dgm:spPr/>
      <dgm:t>
        <a:bodyPr/>
        <a:lstStyle/>
        <a:p>
          <a:endParaRPr lang="en-US"/>
        </a:p>
      </dgm:t>
    </dgm:pt>
    <dgm:pt modelId="{0D9C12FC-7B3C-4A05-BAE6-AB3041EEECDA}" type="pres">
      <dgm:prSet presAssocID="{027E571B-54BD-4590-BAF1-254AF8475AC9}" presName="text1" presStyleCnt="0"/>
      <dgm:spPr/>
    </dgm:pt>
    <dgm:pt modelId="{7727F734-33BD-44CC-B8BA-77F426E60232}" type="pres">
      <dgm:prSet presAssocID="{027E571B-54BD-4590-BAF1-254AF8475AC9}" presName="textRepeatNode" presStyleLbl="align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108671-2E26-493D-8981-E58C26E398F1}" type="pres">
      <dgm:prSet presAssocID="{027E571B-54BD-4590-BAF1-254AF8475AC9}" presName="textaccent1" presStyleCnt="0"/>
      <dgm:spPr/>
    </dgm:pt>
    <dgm:pt modelId="{47385482-2D08-4C32-A66F-95BD64FE7A0C}" type="pres">
      <dgm:prSet presAssocID="{027E571B-54BD-4590-BAF1-254AF8475AC9}" presName="accentRepeatNode" presStyleLbl="solidAlignAcc1" presStyleIdx="0" presStyleCnt="10"/>
      <dgm:spPr>
        <a:ln>
          <a:solidFill>
            <a:srgbClr val="00CCFF"/>
          </a:solidFill>
        </a:ln>
      </dgm:spPr>
    </dgm:pt>
    <dgm:pt modelId="{B21C7F04-4F8B-4D90-8EAF-497A213A6C30}" type="pres">
      <dgm:prSet presAssocID="{5FDDB0B6-02E5-47FB-B2EC-C167B315E16C}" presName="image1" presStyleCnt="0"/>
      <dgm:spPr/>
    </dgm:pt>
    <dgm:pt modelId="{0B243C19-C126-4B17-BE97-B6FCAC52F6C7}" type="pres">
      <dgm:prSet presAssocID="{5FDDB0B6-02E5-47FB-B2EC-C167B315E16C}" presName="imageRepeatNode" presStyleLbl="alignAcc1" presStyleIdx="0" presStyleCnt="5"/>
      <dgm:spPr/>
      <dgm:t>
        <a:bodyPr/>
        <a:lstStyle/>
        <a:p>
          <a:endParaRPr lang="en-US"/>
        </a:p>
      </dgm:t>
    </dgm:pt>
    <dgm:pt modelId="{5BB25213-EFF6-4C6F-9307-AA6F125CEC1D}" type="pres">
      <dgm:prSet presAssocID="{5FDDB0B6-02E5-47FB-B2EC-C167B315E16C}" presName="imageaccent1" presStyleCnt="0"/>
      <dgm:spPr/>
    </dgm:pt>
    <dgm:pt modelId="{E39E9167-7A10-41AD-825C-2DBDE6F3B601}" type="pres">
      <dgm:prSet presAssocID="{5FDDB0B6-02E5-47FB-B2EC-C167B315E16C}" presName="accentRepeatNode" presStyleLbl="solidAlignAcc1" presStyleIdx="1" presStyleCnt="10"/>
      <dgm:spPr/>
    </dgm:pt>
    <dgm:pt modelId="{DA4EF77E-7103-4E7A-A64D-36FB79175799}" type="pres">
      <dgm:prSet presAssocID="{1BCF9116-0C52-4B93-B048-99462436711E}" presName="text2" presStyleCnt="0"/>
      <dgm:spPr/>
    </dgm:pt>
    <dgm:pt modelId="{2EA70E38-098C-472E-98DC-864F8A7B513A}" type="pres">
      <dgm:prSet presAssocID="{1BCF9116-0C52-4B93-B048-99462436711E}" presName="textRepeatNode" presStyleLbl="align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99F975-A6D3-4F48-9BCC-F9336D811C62}" type="pres">
      <dgm:prSet presAssocID="{1BCF9116-0C52-4B93-B048-99462436711E}" presName="textaccent2" presStyleCnt="0"/>
      <dgm:spPr/>
    </dgm:pt>
    <dgm:pt modelId="{9FB87888-2E77-4C1B-B8DB-0649318AA321}" type="pres">
      <dgm:prSet presAssocID="{1BCF9116-0C52-4B93-B048-99462436711E}" presName="accentRepeatNode" presStyleLbl="solidAlignAcc1" presStyleIdx="2" presStyleCnt="10"/>
      <dgm:spPr>
        <a:ln>
          <a:solidFill>
            <a:srgbClr val="FFC000"/>
          </a:solidFill>
        </a:ln>
      </dgm:spPr>
    </dgm:pt>
    <dgm:pt modelId="{6DF97902-2CB7-4F6E-B0A2-E07A2DA3C998}" type="pres">
      <dgm:prSet presAssocID="{28D20163-7717-40E0-B279-6837127B8DEB}" presName="image2" presStyleCnt="0"/>
      <dgm:spPr/>
    </dgm:pt>
    <dgm:pt modelId="{93CCA4A9-9791-44B8-A715-A23C62DC2FD5}" type="pres">
      <dgm:prSet presAssocID="{28D20163-7717-40E0-B279-6837127B8DEB}" presName="imageRepeatNode" presStyleLbl="alignAcc1" presStyleIdx="1" presStyleCnt="5"/>
      <dgm:spPr/>
      <dgm:t>
        <a:bodyPr/>
        <a:lstStyle/>
        <a:p>
          <a:endParaRPr lang="en-US"/>
        </a:p>
      </dgm:t>
    </dgm:pt>
    <dgm:pt modelId="{123D336A-6AFF-40FF-97A4-46793B560847}" type="pres">
      <dgm:prSet presAssocID="{28D20163-7717-40E0-B279-6837127B8DEB}" presName="imageaccent2" presStyleCnt="0"/>
      <dgm:spPr/>
    </dgm:pt>
    <dgm:pt modelId="{DF568E05-3024-4E96-8B9C-4EBC090FC538}" type="pres">
      <dgm:prSet presAssocID="{28D20163-7717-40E0-B279-6837127B8DEB}" presName="accentRepeatNode" presStyleLbl="solidAlignAcc1" presStyleIdx="3" presStyleCnt="10"/>
      <dgm:spPr>
        <a:ln>
          <a:solidFill>
            <a:srgbClr val="FFC000"/>
          </a:solidFill>
        </a:ln>
      </dgm:spPr>
    </dgm:pt>
    <dgm:pt modelId="{6534C174-4E8F-49CB-A03A-156F556ECA86}" type="pres">
      <dgm:prSet presAssocID="{CD874FF1-01F1-4C45-BEA9-97A05595633F}" presName="text3" presStyleCnt="0"/>
      <dgm:spPr/>
    </dgm:pt>
    <dgm:pt modelId="{1EE2B25B-B9DB-415C-98BB-C679B3070FB8}" type="pres">
      <dgm:prSet presAssocID="{CD874FF1-01F1-4C45-BEA9-97A05595633F}" presName="textRepeatNode" presStyleLbl="align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303646-35DB-4654-A5F7-EBF478E7B43D}" type="pres">
      <dgm:prSet presAssocID="{CD874FF1-01F1-4C45-BEA9-97A05595633F}" presName="textaccent3" presStyleCnt="0"/>
      <dgm:spPr/>
    </dgm:pt>
    <dgm:pt modelId="{25FAF201-EE15-45B6-A097-CDFCF63C6ABB}" type="pres">
      <dgm:prSet presAssocID="{CD874FF1-01F1-4C45-BEA9-97A05595633F}" presName="accentRepeatNode" presStyleLbl="solidAlignAcc1" presStyleIdx="4" presStyleCnt="10"/>
      <dgm:spPr/>
    </dgm:pt>
    <dgm:pt modelId="{E328C1C5-590A-4EE1-8F33-81AAD6F12EC3}" type="pres">
      <dgm:prSet presAssocID="{694FA60E-70E3-4938-B846-25909A334B4B}" presName="image3" presStyleCnt="0"/>
      <dgm:spPr/>
    </dgm:pt>
    <dgm:pt modelId="{5842E8CF-A366-4356-B0CB-1E01D03D4724}" type="pres">
      <dgm:prSet presAssocID="{694FA60E-70E3-4938-B846-25909A334B4B}" presName="imageRepeatNode" presStyleLbl="alignAcc1" presStyleIdx="2" presStyleCnt="5"/>
      <dgm:spPr/>
      <dgm:t>
        <a:bodyPr/>
        <a:lstStyle/>
        <a:p>
          <a:endParaRPr lang="en-US"/>
        </a:p>
      </dgm:t>
    </dgm:pt>
    <dgm:pt modelId="{0A9C2BC3-2CAC-4B4E-99E9-6C932CD310F5}" type="pres">
      <dgm:prSet presAssocID="{694FA60E-70E3-4938-B846-25909A334B4B}" presName="imageaccent3" presStyleCnt="0"/>
      <dgm:spPr/>
    </dgm:pt>
    <dgm:pt modelId="{7D2ED172-8A31-486C-B063-972D5EB76172}" type="pres">
      <dgm:prSet presAssocID="{694FA60E-70E3-4938-B846-25909A334B4B}" presName="accentRepeatNode" presStyleLbl="solidAlignAcc1" presStyleIdx="5" presStyleCnt="10"/>
      <dgm:spPr>
        <a:ln>
          <a:solidFill>
            <a:srgbClr val="FF3399"/>
          </a:solidFill>
        </a:ln>
      </dgm:spPr>
    </dgm:pt>
    <dgm:pt modelId="{04102407-3994-4CB5-8DEA-662075A55DDC}" type="pres">
      <dgm:prSet presAssocID="{543C4167-96E0-4AFD-BEE0-8C328D552DA4}" presName="text4" presStyleCnt="0"/>
      <dgm:spPr/>
    </dgm:pt>
    <dgm:pt modelId="{4E4B0C7C-D392-4240-B8E9-B47BA73026C3}" type="pres">
      <dgm:prSet presAssocID="{543C4167-96E0-4AFD-BEE0-8C328D552DA4}" presName="textRepeatNode" presStyleLbl="align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B9DB1E-A990-4581-AFEF-7101FA9D9C36}" type="pres">
      <dgm:prSet presAssocID="{543C4167-96E0-4AFD-BEE0-8C328D552DA4}" presName="textaccent4" presStyleCnt="0"/>
      <dgm:spPr/>
    </dgm:pt>
    <dgm:pt modelId="{09775A38-376F-4458-A47F-0B6177718CA9}" type="pres">
      <dgm:prSet presAssocID="{543C4167-96E0-4AFD-BEE0-8C328D552DA4}" presName="accentRepeatNode" presStyleLbl="solidAlignAcc1" presStyleIdx="6" presStyleCnt="10"/>
      <dgm:spPr>
        <a:ln>
          <a:solidFill>
            <a:srgbClr val="FFC000"/>
          </a:solidFill>
        </a:ln>
      </dgm:spPr>
    </dgm:pt>
    <dgm:pt modelId="{87B4ED73-C128-4FC2-B828-CEAD4A5150D1}" type="pres">
      <dgm:prSet presAssocID="{B9FF2538-6737-416A-A8BB-F37DED3ECED5}" presName="image4" presStyleCnt="0"/>
      <dgm:spPr/>
    </dgm:pt>
    <dgm:pt modelId="{99D2777F-5DFD-4549-BDF7-00516995F3EF}" type="pres">
      <dgm:prSet presAssocID="{B9FF2538-6737-416A-A8BB-F37DED3ECED5}" presName="imageRepeatNode" presStyleLbl="alignAcc1" presStyleIdx="3" presStyleCnt="5"/>
      <dgm:spPr/>
      <dgm:t>
        <a:bodyPr/>
        <a:lstStyle/>
        <a:p>
          <a:endParaRPr lang="en-US"/>
        </a:p>
      </dgm:t>
    </dgm:pt>
    <dgm:pt modelId="{64FC8AFA-6CEF-4844-8AC1-01A29DDD0135}" type="pres">
      <dgm:prSet presAssocID="{B9FF2538-6737-416A-A8BB-F37DED3ECED5}" presName="imageaccent4" presStyleCnt="0"/>
      <dgm:spPr/>
    </dgm:pt>
    <dgm:pt modelId="{5D02338A-31A9-45EB-9124-72A6647EE062}" type="pres">
      <dgm:prSet presAssocID="{B9FF2538-6737-416A-A8BB-F37DED3ECED5}" presName="accentRepeatNode" presStyleLbl="solidAlignAcc1" presStyleIdx="7" presStyleCnt="10"/>
      <dgm:spPr/>
    </dgm:pt>
    <dgm:pt modelId="{1E39AB7D-7973-4057-864C-8208FD9AF052}" type="pres">
      <dgm:prSet presAssocID="{77EC2E59-978A-4589-8F4A-FEAAA0EA68FC}" presName="text5" presStyleCnt="0"/>
      <dgm:spPr/>
    </dgm:pt>
    <dgm:pt modelId="{5532B43B-63EA-49F8-B761-4D4F6BA26424}" type="pres">
      <dgm:prSet presAssocID="{77EC2E59-978A-4589-8F4A-FEAAA0EA68FC}" presName="textRepeatNode" presStyleLbl="align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34C391-AE81-4F84-AE85-BEAE6C6933CC}" type="pres">
      <dgm:prSet presAssocID="{77EC2E59-978A-4589-8F4A-FEAAA0EA68FC}" presName="textaccent5" presStyleCnt="0"/>
      <dgm:spPr/>
    </dgm:pt>
    <dgm:pt modelId="{A50782FE-2CF8-4473-87F7-3C00129BCFF4}" type="pres">
      <dgm:prSet presAssocID="{77EC2E59-978A-4589-8F4A-FEAAA0EA68FC}" presName="accentRepeatNode" presStyleLbl="solidAlignAcc1" presStyleIdx="8" presStyleCnt="10"/>
      <dgm:spPr>
        <a:ln>
          <a:solidFill>
            <a:schemeClr val="accent1">
              <a:lumMod val="20000"/>
              <a:lumOff val="80000"/>
            </a:schemeClr>
          </a:solidFill>
        </a:ln>
      </dgm:spPr>
    </dgm:pt>
    <dgm:pt modelId="{672CCD0C-EBC2-4A2A-A519-12174A7627C1}" type="pres">
      <dgm:prSet presAssocID="{3815BB63-D057-486B-AC75-C41E51E464C9}" presName="image5" presStyleCnt="0"/>
      <dgm:spPr/>
    </dgm:pt>
    <dgm:pt modelId="{92891812-F15C-4AC9-B384-32579FC23223}" type="pres">
      <dgm:prSet presAssocID="{3815BB63-D057-486B-AC75-C41E51E464C9}" presName="imageRepeatNode" presStyleLbl="alignAcc1" presStyleIdx="4" presStyleCnt="5"/>
      <dgm:spPr/>
      <dgm:t>
        <a:bodyPr/>
        <a:lstStyle/>
        <a:p>
          <a:endParaRPr lang="en-US"/>
        </a:p>
      </dgm:t>
    </dgm:pt>
    <dgm:pt modelId="{153D1FDF-212E-4683-8218-F193C81A397F}" type="pres">
      <dgm:prSet presAssocID="{3815BB63-D057-486B-AC75-C41E51E464C9}" presName="imageaccent5" presStyleCnt="0"/>
      <dgm:spPr/>
    </dgm:pt>
    <dgm:pt modelId="{E61DF309-A065-4B8F-82EC-7332B5465321}" type="pres">
      <dgm:prSet presAssocID="{3815BB63-D057-486B-AC75-C41E51E464C9}" presName="accentRepeatNode" presStyleLbl="solidAlignAcc1" presStyleIdx="9" presStyleCnt="10"/>
      <dgm:spPr>
        <a:ln>
          <a:solidFill>
            <a:srgbClr val="00B050"/>
          </a:solidFill>
        </a:ln>
      </dgm:spPr>
    </dgm:pt>
  </dgm:ptLst>
  <dgm:cxnLst>
    <dgm:cxn modelId="{E899A7B9-D03C-4F7B-8937-CD98F1663208}" type="presOf" srcId="{00B9BEA3-332D-418D-895D-CB88ED63E027}" destId="{96DFAACE-F00E-4640-99E5-97B932F653DE}" srcOrd="0" destOrd="0" presId="urn:microsoft.com/office/officeart/2008/layout/HexagonCluster"/>
    <dgm:cxn modelId="{FA557718-4E42-4A74-BA6F-DFCEF79EABA2}" srcId="{77EC2E59-978A-4589-8F4A-FEAAA0EA68FC}" destId="{81ED3B0E-3E6D-48BA-9345-7A167FFDC161}" srcOrd="4" destOrd="0" parTransId="{1ED52B18-559E-4E93-A71D-3D65BA461417}" sibTransId="{02E2EE0F-2F65-4325-8118-0C94523A1AF3}"/>
    <dgm:cxn modelId="{860F972C-68E8-4565-B2F7-9FD6787E5FCF}" type="presOf" srcId="{77EC2E59-978A-4589-8F4A-FEAAA0EA68FC}" destId="{5532B43B-63EA-49F8-B761-4D4F6BA26424}" srcOrd="0" destOrd="0" presId="urn:microsoft.com/office/officeart/2008/layout/HexagonCluster"/>
    <dgm:cxn modelId="{19E04FD5-96FC-4F3D-9CAE-2B1D64257A03}" type="presOf" srcId="{B9FF2538-6737-416A-A8BB-F37DED3ECED5}" destId="{99D2777F-5DFD-4549-BDF7-00516995F3EF}" srcOrd="0" destOrd="0" presId="urn:microsoft.com/office/officeart/2008/layout/HexagonCluster"/>
    <dgm:cxn modelId="{636611F7-ABF6-43B9-8528-A8B7E89F6971}" srcId="{00B9BEA3-332D-418D-895D-CB88ED63E027}" destId="{027E571B-54BD-4590-BAF1-254AF8475AC9}" srcOrd="0" destOrd="0" parTransId="{FA3522FC-AB41-4037-A972-B0412D75A3DE}" sibTransId="{5FDDB0B6-02E5-47FB-B2EC-C167B315E16C}"/>
    <dgm:cxn modelId="{199A688E-1B18-4BB4-B70D-B006DAD24A97}" type="presOf" srcId="{3815BB63-D057-486B-AC75-C41E51E464C9}" destId="{92891812-F15C-4AC9-B384-32579FC23223}" srcOrd="0" destOrd="0" presId="urn:microsoft.com/office/officeart/2008/layout/HexagonCluster"/>
    <dgm:cxn modelId="{0A944B58-8B9E-4827-8F26-E1C5B30DD223}" type="presOf" srcId="{0F0FE396-FBAA-4FBB-B57B-146CF435B551}" destId="{5532B43B-63EA-49F8-B761-4D4F6BA26424}" srcOrd="0" destOrd="4" presId="urn:microsoft.com/office/officeart/2008/layout/HexagonCluster"/>
    <dgm:cxn modelId="{F4A04D04-799B-4E63-8B92-C41D53D32A28}" type="presOf" srcId="{F49263AD-599A-4BC3-A221-033CB951E511}" destId="{5532B43B-63EA-49F8-B761-4D4F6BA26424}" srcOrd="0" destOrd="2" presId="urn:microsoft.com/office/officeart/2008/layout/HexagonCluster"/>
    <dgm:cxn modelId="{B9B88840-07B2-4B59-8331-28278D6E2F19}" type="presOf" srcId="{CD874FF1-01F1-4C45-BEA9-97A05595633F}" destId="{1EE2B25B-B9DB-415C-98BB-C679B3070FB8}" srcOrd="0" destOrd="0" presId="urn:microsoft.com/office/officeart/2008/layout/HexagonCluster"/>
    <dgm:cxn modelId="{B73DB176-EFA7-4A30-8F2A-64D8099D8185}" type="presOf" srcId="{81ED3B0E-3E6D-48BA-9345-7A167FFDC161}" destId="{5532B43B-63EA-49F8-B761-4D4F6BA26424}" srcOrd="0" destOrd="5" presId="urn:microsoft.com/office/officeart/2008/layout/HexagonCluster"/>
    <dgm:cxn modelId="{C8C67CFB-B29F-4BF9-8D33-442B57E61993}" srcId="{77EC2E59-978A-4589-8F4A-FEAAA0EA68FC}" destId="{0F0FE396-FBAA-4FBB-B57B-146CF435B551}" srcOrd="3" destOrd="0" parTransId="{D511B390-7022-429C-8FF0-471FCE703CF4}" sibTransId="{678B736E-120A-435B-B2FD-A1D880A77BE4}"/>
    <dgm:cxn modelId="{D345AA31-09DA-488E-BD78-CD2B93C54F27}" type="presOf" srcId="{5FDDB0B6-02E5-47FB-B2EC-C167B315E16C}" destId="{0B243C19-C126-4B17-BE97-B6FCAC52F6C7}" srcOrd="0" destOrd="0" presId="urn:microsoft.com/office/officeart/2008/layout/HexagonCluster"/>
    <dgm:cxn modelId="{AB0FE785-B016-4156-A78C-62120C68292E}" type="presOf" srcId="{861EEEE2-EAAE-46F4-A43B-608DFA0B8CC4}" destId="{5532B43B-63EA-49F8-B761-4D4F6BA26424}" srcOrd="0" destOrd="3" presId="urn:microsoft.com/office/officeart/2008/layout/HexagonCluster"/>
    <dgm:cxn modelId="{082CCB12-C327-40CC-B0E6-E59E554E71A5}" type="presOf" srcId="{BAC6ED2D-06B2-449E-BB4B-EE0417E1E859}" destId="{5532B43B-63EA-49F8-B761-4D4F6BA26424}" srcOrd="0" destOrd="1" presId="urn:microsoft.com/office/officeart/2008/layout/HexagonCluster"/>
    <dgm:cxn modelId="{909AF9BA-F04D-4D04-88BD-54988973D265}" type="presOf" srcId="{694FA60E-70E3-4938-B846-25909A334B4B}" destId="{5842E8CF-A366-4356-B0CB-1E01D03D4724}" srcOrd="0" destOrd="0" presId="urn:microsoft.com/office/officeart/2008/layout/HexagonCluster"/>
    <dgm:cxn modelId="{6C80CCC8-EE52-4E79-8856-AE7ADC763F42}" type="presOf" srcId="{543C4167-96E0-4AFD-BEE0-8C328D552DA4}" destId="{4E4B0C7C-D392-4240-B8E9-B47BA73026C3}" srcOrd="0" destOrd="0" presId="urn:microsoft.com/office/officeart/2008/layout/HexagonCluster"/>
    <dgm:cxn modelId="{E5125AFC-7DF3-4D0C-BF57-034ACE806288}" srcId="{77EC2E59-978A-4589-8F4A-FEAAA0EA68FC}" destId="{F49263AD-599A-4BC3-A221-033CB951E511}" srcOrd="1" destOrd="0" parTransId="{52CE718B-F1CA-4DDF-837A-AF24D123B0F1}" sibTransId="{2429F6E0-EAAD-4A91-854D-C0A71AF42FD2}"/>
    <dgm:cxn modelId="{0AE5B86E-BC1A-48FF-898B-4FEC66B42BA7}" srcId="{00B9BEA3-332D-418D-895D-CB88ED63E027}" destId="{1BCF9116-0C52-4B93-B048-99462436711E}" srcOrd="1" destOrd="0" parTransId="{74E77D50-3DCA-43E6-8792-484A3A8634A7}" sibTransId="{28D20163-7717-40E0-B279-6837127B8DEB}"/>
    <dgm:cxn modelId="{F79387B3-EC0B-4069-BD64-3486572B0B6C}" type="presOf" srcId="{1BCF9116-0C52-4B93-B048-99462436711E}" destId="{2EA70E38-098C-472E-98DC-864F8A7B513A}" srcOrd="0" destOrd="0" presId="urn:microsoft.com/office/officeart/2008/layout/HexagonCluster"/>
    <dgm:cxn modelId="{79BA3CD5-64F0-42D9-9C75-F36964027C7C}" srcId="{00B9BEA3-332D-418D-895D-CB88ED63E027}" destId="{CD874FF1-01F1-4C45-BEA9-97A05595633F}" srcOrd="2" destOrd="0" parTransId="{506971BB-D391-4B39-9B7A-D087D6BBF9DB}" sibTransId="{694FA60E-70E3-4938-B846-25909A334B4B}"/>
    <dgm:cxn modelId="{C33903B4-811D-4FD7-8169-42CFA9DD3471}" srcId="{00B9BEA3-332D-418D-895D-CB88ED63E027}" destId="{543C4167-96E0-4AFD-BEE0-8C328D552DA4}" srcOrd="3" destOrd="0" parTransId="{A15EFB0D-C273-458C-9F21-53F3DEA0CE0A}" sibTransId="{B9FF2538-6737-416A-A8BB-F37DED3ECED5}"/>
    <dgm:cxn modelId="{940CEEB3-89D9-4CA9-8EC0-A713CF99677C}" srcId="{00B9BEA3-332D-418D-895D-CB88ED63E027}" destId="{77EC2E59-978A-4589-8F4A-FEAAA0EA68FC}" srcOrd="4" destOrd="0" parTransId="{A2AFBEA5-054B-43B0-8221-FCE0FCB48308}" sibTransId="{3815BB63-D057-486B-AC75-C41E51E464C9}"/>
    <dgm:cxn modelId="{CA18C04E-C70E-4B20-B34A-237FB8C3ECB2}" srcId="{77EC2E59-978A-4589-8F4A-FEAAA0EA68FC}" destId="{BAC6ED2D-06B2-449E-BB4B-EE0417E1E859}" srcOrd="0" destOrd="0" parTransId="{815AB929-8D79-48BA-8076-EF96BD55395F}" sibTransId="{58EC255F-A7E0-45F4-BE23-62E8B6BDD424}"/>
    <dgm:cxn modelId="{413DBDF2-61BF-40DE-A6A2-08F3D7AAA4F4}" type="presOf" srcId="{28D20163-7717-40E0-B279-6837127B8DEB}" destId="{93CCA4A9-9791-44B8-A715-A23C62DC2FD5}" srcOrd="0" destOrd="0" presId="urn:microsoft.com/office/officeart/2008/layout/HexagonCluster"/>
    <dgm:cxn modelId="{F31321BE-A660-48E7-8B73-53E85B64402E}" srcId="{77EC2E59-978A-4589-8F4A-FEAAA0EA68FC}" destId="{861EEEE2-EAAE-46F4-A43B-608DFA0B8CC4}" srcOrd="2" destOrd="0" parTransId="{DE9D38A4-C52F-4738-B5E1-5986AAF69350}" sibTransId="{06269AEC-9602-407F-98D4-1E70BF1ACD2A}"/>
    <dgm:cxn modelId="{4F5BA6DE-BB45-48E8-93F3-DF60A53ADD94}" type="presOf" srcId="{027E571B-54BD-4590-BAF1-254AF8475AC9}" destId="{7727F734-33BD-44CC-B8BA-77F426E60232}" srcOrd="0" destOrd="0" presId="urn:microsoft.com/office/officeart/2008/layout/HexagonCluster"/>
    <dgm:cxn modelId="{4378FD04-4BB9-40C4-B8AA-141AE235E158}" type="presParOf" srcId="{96DFAACE-F00E-4640-99E5-97B932F653DE}" destId="{0D9C12FC-7B3C-4A05-BAE6-AB3041EEECDA}" srcOrd="0" destOrd="0" presId="urn:microsoft.com/office/officeart/2008/layout/HexagonCluster"/>
    <dgm:cxn modelId="{6C6C97A1-4BBE-439C-8A05-BFEFA2EC3298}" type="presParOf" srcId="{0D9C12FC-7B3C-4A05-BAE6-AB3041EEECDA}" destId="{7727F734-33BD-44CC-B8BA-77F426E60232}" srcOrd="0" destOrd="0" presId="urn:microsoft.com/office/officeart/2008/layout/HexagonCluster"/>
    <dgm:cxn modelId="{15E31B6D-B9E7-4BC4-9D41-6F8FFE6BC714}" type="presParOf" srcId="{96DFAACE-F00E-4640-99E5-97B932F653DE}" destId="{86108671-2E26-493D-8981-E58C26E398F1}" srcOrd="1" destOrd="0" presId="urn:microsoft.com/office/officeart/2008/layout/HexagonCluster"/>
    <dgm:cxn modelId="{6E8E59FE-EBA8-45CD-8E00-0115B4A8F1A5}" type="presParOf" srcId="{86108671-2E26-493D-8981-E58C26E398F1}" destId="{47385482-2D08-4C32-A66F-95BD64FE7A0C}" srcOrd="0" destOrd="0" presId="urn:microsoft.com/office/officeart/2008/layout/HexagonCluster"/>
    <dgm:cxn modelId="{13B1CB26-0ED6-4510-827C-AB58821ABC16}" type="presParOf" srcId="{96DFAACE-F00E-4640-99E5-97B932F653DE}" destId="{B21C7F04-4F8B-4D90-8EAF-497A213A6C30}" srcOrd="2" destOrd="0" presId="urn:microsoft.com/office/officeart/2008/layout/HexagonCluster"/>
    <dgm:cxn modelId="{5E4E790D-5021-4706-9C04-375A75116894}" type="presParOf" srcId="{B21C7F04-4F8B-4D90-8EAF-497A213A6C30}" destId="{0B243C19-C126-4B17-BE97-B6FCAC52F6C7}" srcOrd="0" destOrd="0" presId="urn:microsoft.com/office/officeart/2008/layout/HexagonCluster"/>
    <dgm:cxn modelId="{55860DCF-924B-4F66-BC89-291BEB6F57F3}" type="presParOf" srcId="{96DFAACE-F00E-4640-99E5-97B932F653DE}" destId="{5BB25213-EFF6-4C6F-9307-AA6F125CEC1D}" srcOrd="3" destOrd="0" presId="urn:microsoft.com/office/officeart/2008/layout/HexagonCluster"/>
    <dgm:cxn modelId="{560A70E6-8FB8-4546-B420-E8D751B51963}" type="presParOf" srcId="{5BB25213-EFF6-4C6F-9307-AA6F125CEC1D}" destId="{E39E9167-7A10-41AD-825C-2DBDE6F3B601}" srcOrd="0" destOrd="0" presId="urn:microsoft.com/office/officeart/2008/layout/HexagonCluster"/>
    <dgm:cxn modelId="{5E892C37-EB15-496F-B0E7-09E1EC54B7E5}" type="presParOf" srcId="{96DFAACE-F00E-4640-99E5-97B932F653DE}" destId="{DA4EF77E-7103-4E7A-A64D-36FB79175799}" srcOrd="4" destOrd="0" presId="urn:microsoft.com/office/officeart/2008/layout/HexagonCluster"/>
    <dgm:cxn modelId="{85DF910B-E235-49C4-8610-CE9CE2566F50}" type="presParOf" srcId="{DA4EF77E-7103-4E7A-A64D-36FB79175799}" destId="{2EA70E38-098C-472E-98DC-864F8A7B513A}" srcOrd="0" destOrd="0" presId="urn:microsoft.com/office/officeart/2008/layout/HexagonCluster"/>
    <dgm:cxn modelId="{2B337EBE-097E-44F2-AF5B-3F9F87D93B2D}" type="presParOf" srcId="{96DFAACE-F00E-4640-99E5-97B932F653DE}" destId="{DB99F975-A6D3-4F48-9BCC-F9336D811C62}" srcOrd="5" destOrd="0" presId="urn:microsoft.com/office/officeart/2008/layout/HexagonCluster"/>
    <dgm:cxn modelId="{044EB4FF-64E0-4C12-A367-272AF0F20B24}" type="presParOf" srcId="{DB99F975-A6D3-4F48-9BCC-F9336D811C62}" destId="{9FB87888-2E77-4C1B-B8DB-0649318AA321}" srcOrd="0" destOrd="0" presId="urn:microsoft.com/office/officeart/2008/layout/HexagonCluster"/>
    <dgm:cxn modelId="{883AD9F7-447A-4690-9959-CE5EA0EBCA6E}" type="presParOf" srcId="{96DFAACE-F00E-4640-99E5-97B932F653DE}" destId="{6DF97902-2CB7-4F6E-B0A2-E07A2DA3C998}" srcOrd="6" destOrd="0" presId="urn:microsoft.com/office/officeart/2008/layout/HexagonCluster"/>
    <dgm:cxn modelId="{712898CC-D170-49AE-951E-038B643A2347}" type="presParOf" srcId="{6DF97902-2CB7-4F6E-B0A2-E07A2DA3C998}" destId="{93CCA4A9-9791-44B8-A715-A23C62DC2FD5}" srcOrd="0" destOrd="0" presId="urn:microsoft.com/office/officeart/2008/layout/HexagonCluster"/>
    <dgm:cxn modelId="{A43B4AE9-167E-4F46-84CC-FE3BBE4DC035}" type="presParOf" srcId="{96DFAACE-F00E-4640-99E5-97B932F653DE}" destId="{123D336A-6AFF-40FF-97A4-46793B560847}" srcOrd="7" destOrd="0" presId="urn:microsoft.com/office/officeart/2008/layout/HexagonCluster"/>
    <dgm:cxn modelId="{AE25A730-3377-4547-BD55-75D86CEBB841}" type="presParOf" srcId="{123D336A-6AFF-40FF-97A4-46793B560847}" destId="{DF568E05-3024-4E96-8B9C-4EBC090FC538}" srcOrd="0" destOrd="0" presId="urn:microsoft.com/office/officeart/2008/layout/HexagonCluster"/>
    <dgm:cxn modelId="{F6FC0FD3-9BD9-4D14-9D70-C9DF639635D8}" type="presParOf" srcId="{96DFAACE-F00E-4640-99E5-97B932F653DE}" destId="{6534C174-4E8F-49CB-A03A-156F556ECA86}" srcOrd="8" destOrd="0" presId="urn:microsoft.com/office/officeart/2008/layout/HexagonCluster"/>
    <dgm:cxn modelId="{1005D0CF-EDA2-43FD-AA22-09F5EB26F11E}" type="presParOf" srcId="{6534C174-4E8F-49CB-A03A-156F556ECA86}" destId="{1EE2B25B-B9DB-415C-98BB-C679B3070FB8}" srcOrd="0" destOrd="0" presId="urn:microsoft.com/office/officeart/2008/layout/HexagonCluster"/>
    <dgm:cxn modelId="{9BDCFEF2-A566-4D29-ACB7-716DCA990046}" type="presParOf" srcId="{96DFAACE-F00E-4640-99E5-97B932F653DE}" destId="{CF303646-35DB-4654-A5F7-EBF478E7B43D}" srcOrd="9" destOrd="0" presId="urn:microsoft.com/office/officeart/2008/layout/HexagonCluster"/>
    <dgm:cxn modelId="{00D20904-252F-4711-A574-DF400B5B4FB8}" type="presParOf" srcId="{CF303646-35DB-4654-A5F7-EBF478E7B43D}" destId="{25FAF201-EE15-45B6-A097-CDFCF63C6ABB}" srcOrd="0" destOrd="0" presId="urn:microsoft.com/office/officeart/2008/layout/HexagonCluster"/>
    <dgm:cxn modelId="{53C0CE1A-2984-4B70-BCE0-07A6815FA585}" type="presParOf" srcId="{96DFAACE-F00E-4640-99E5-97B932F653DE}" destId="{E328C1C5-590A-4EE1-8F33-81AAD6F12EC3}" srcOrd="10" destOrd="0" presId="urn:microsoft.com/office/officeart/2008/layout/HexagonCluster"/>
    <dgm:cxn modelId="{3B8BF54A-1798-4C5E-ADF6-1D8F4189D682}" type="presParOf" srcId="{E328C1C5-590A-4EE1-8F33-81AAD6F12EC3}" destId="{5842E8CF-A366-4356-B0CB-1E01D03D4724}" srcOrd="0" destOrd="0" presId="urn:microsoft.com/office/officeart/2008/layout/HexagonCluster"/>
    <dgm:cxn modelId="{BCEE7DD6-EB20-4EA4-9B69-0053E34B46BE}" type="presParOf" srcId="{96DFAACE-F00E-4640-99E5-97B932F653DE}" destId="{0A9C2BC3-2CAC-4B4E-99E9-6C932CD310F5}" srcOrd="11" destOrd="0" presId="urn:microsoft.com/office/officeart/2008/layout/HexagonCluster"/>
    <dgm:cxn modelId="{B9D43BA8-F434-4DB6-89F4-39FC87BABC53}" type="presParOf" srcId="{0A9C2BC3-2CAC-4B4E-99E9-6C932CD310F5}" destId="{7D2ED172-8A31-486C-B063-972D5EB76172}" srcOrd="0" destOrd="0" presId="urn:microsoft.com/office/officeart/2008/layout/HexagonCluster"/>
    <dgm:cxn modelId="{7B425D93-AD48-45E9-B5EF-328E1E7CAA3B}" type="presParOf" srcId="{96DFAACE-F00E-4640-99E5-97B932F653DE}" destId="{04102407-3994-4CB5-8DEA-662075A55DDC}" srcOrd="12" destOrd="0" presId="urn:microsoft.com/office/officeart/2008/layout/HexagonCluster"/>
    <dgm:cxn modelId="{F77F352E-5E36-48BD-AF10-C0F01E65AF47}" type="presParOf" srcId="{04102407-3994-4CB5-8DEA-662075A55DDC}" destId="{4E4B0C7C-D392-4240-B8E9-B47BA73026C3}" srcOrd="0" destOrd="0" presId="urn:microsoft.com/office/officeart/2008/layout/HexagonCluster"/>
    <dgm:cxn modelId="{1DECAFF0-748D-4FBE-8C65-6586BE3A6B15}" type="presParOf" srcId="{96DFAACE-F00E-4640-99E5-97B932F653DE}" destId="{97B9DB1E-A990-4581-AFEF-7101FA9D9C36}" srcOrd="13" destOrd="0" presId="urn:microsoft.com/office/officeart/2008/layout/HexagonCluster"/>
    <dgm:cxn modelId="{1CF61195-C953-40F3-97F7-121230418708}" type="presParOf" srcId="{97B9DB1E-A990-4581-AFEF-7101FA9D9C36}" destId="{09775A38-376F-4458-A47F-0B6177718CA9}" srcOrd="0" destOrd="0" presId="urn:microsoft.com/office/officeart/2008/layout/HexagonCluster"/>
    <dgm:cxn modelId="{15FC4DF9-8139-49A0-AAE4-5C107F397DF7}" type="presParOf" srcId="{96DFAACE-F00E-4640-99E5-97B932F653DE}" destId="{87B4ED73-C128-4FC2-B828-CEAD4A5150D1}" srcOrd="14" destOrd="0" presId="urn:microsoft.com/office/officeart/2008/layout/HexagonCluster"/>
    <dgm:cxn modelId="{27D3F419-96BB-4BB8-B5D9-9C618E5BF35E}" type="presParOf" srcId="{87B4ED73-C128-4FC2-B828-CEAD4A5150D1}" destId="{99D2777F-5DFD-4549-BDF7-00516995F3EF}" srcOrd="0" destOrd="0" presId="urn:microsoft.com/office/officeart/2008/layout/HexagonCluster"/>
    <dgm:cxn modelId="{26AC4A9E-EE56-49B4-BF18-3248A1ED84D6}" type="presParOf" srcId="{96DFAACE-F00E-4640-99E5-97B932F653DE}" destId="{64FC8AFA-6CEF-4844-8AC1-01A29DDD0135}" srcOrd="15" destOrd="0" presId="urn:microsoft.com/office/officeart/2008/layout/HexagonCluster"/>
    <dgm:cxn modelId="{660E1BC3-78EF-4DFF-8F16-40D4AACD5A20}" type="presParOf" srcId="{64FC8AFA-6CEF-4844-8AC1-01A29DDD0135}" destId="{5D02338A-31A9-45EB-9124-72A6647EE062}" srcOrd="0" destOrd="0" presId="urn:microsoft.com/office/officeart/2008/layout/HexagonCluster"/>
    <dgm:cxn modelId="{0819F24B-8041-4F24-9E6D-D624399B173F}" type="presParOf" srcId="{96DFAACE-F00E-4640-99E5-97B932F653DE}" destId="{1E39AB7D-7973-4057-864C-8208FD9AF052}" srcOrd="16" destOrd="0" presId="urn:microsoft.com/office/officeart/2008/layout/HexagonCluster"/>
    <dgm:cxn modelId="{D600E209-32EC-4393-9719-0D2E872F9F4B}" type="presParOf" srcId="{1E39AB7D-7973-4057-864C-8208FD9AF052}" destId="{5532B43B-63EA-49F8-B761-4D4F6BA26424}" srcOrd="0" destOrd="0" presId="urn:microsoft.com/office/officeart/2008/layout/HexagonCluster"/>
    <dgm:cxn modelId="{4E08E277-2C5B-4F25-A7B5-97D34B7D80B5}" type="presParOf" srcId="{96DFAACE-F00E-4640-99E5-97B932F653DE}" destId="{0834C391-AE81-4F84-AE85-BEAE6C6933CC}" srcOrd="17" destOrd="0" presId="urn:microsoft.com/office/officeart/2008/layout/HexagonCluster"/>
    <dgm:cxn modelId="{8970EA71-C3EA-4546-98E8-8BE9540F207E}" type="presParOf" srcId="{0834C391-AE81-4F84-AE85-BEAE6C6933CC}" destId="{A50782FE-2CF8-4473-87F7-3C00129BCFF4}" srcOrd="0" destOrd="0" presId="urn:microsoft.com/office/officeart/2008/layout/HexagonCluster"/>
    <dgm:cxn modelId="{9FE8011A-FE0B-454D-B9D1-B905803D3121}" type="presParOf" srcId="{96DFAACE-F00E-4640-99E5-97B932F653DE}" destId="{672CCD0C-EBC2-4A2A-A519-12174A7627C1}" srcOrd="18" destOrd="0" presId="urn:microsoft.com/office/officeart/2008/layout/HexagonCluster"/>
    <dgm:cxn modelId="{3F9D7BCD-418C-4321-8FD4-79886D1097FB}" type="presParOf" srcId="{672CCD0C-EBC2-4A2A-A519-12174A7627C1}" destId="{92891812-F15C-4AC9-B384-32579FC23223}" srcOrd="0" destOrd="0" presId="urn:microsoft.com/office/officeart/2008/layout/HexagonCluster"/>
    <dgm:cxn modelId="{40C5C795-73D7-4127-9175-C47E488782F2}" type="presParOf" srcId="{96DFAACE-F00E-4640-99E5-97B932F653DE}" destId="{153D1FDF-212E-4683-8218-F193C81A397F}" srcOrd="19" destOrd="0" presId="urn:microsoft.com/office/officeart/2008/layout/HexagonCluster"/>
    <dgm:cxn modelId="{BA3916A7-F47A-4E95-82B3-BF8DEEBD3B66}" type="presParOf" srcId="{153D1FDF-212E-4683-8218-F193C81A397F}" destId="{E61DF309-A065-4B8F-82EC-7332B5465321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D5FCEC-8E62-41B2-8EE5-247705B7F999}">
      <dsp:nvSpPr>
        <dsp:cNvPr id="0" name=""/>
        <dsp:cNvSpPr/>
      </dsp:nvSpPr>
      <dsp:spPr>
        <a:xfrm>
          <a:off x="0" y="4042"/>
          <a:ext cx="8803040" cy="2041426"/>
        </a:xfrm>
        <a:prstGeom prst="roundRect">
          <a:avLst>
            <a:gd name="adj" fmla="val 10000"/>
          </a:avLst>
        </a:prstGeom>
        <a:solidFill>
          <a:srgbClr val="FFFFFF">
            <a:alpha val="90000"/>
            <a:tint val="4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525CA3"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D842937-B958-4186-9FFC-AAA1B7F6E2C5}">
      <dsp:nvSpPr>
        <dsp:cNvPr id="0" name=""/>
        <dsp:cNvSpPr/>
      </dsp:nvSpPr>
      <dsp:spPr>
        <a:xfrm>
          <a:off x="265101" y="272190"/>
          <a:ext cx="1272744" cy="149704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7759CFB4-31F2-4288-BF43-0D0E027725BE}">
      <dsp:nvSpPr>
        <dsp:cNvPr id="0" name=""/>
        <dsp:cNvSpPr/>
      </dsp:nvSpPr>
      <dsp:spPr>
        <a:xfrm rot="10800000">
          <a:off x="265101" y="2041426"/>
          <a:ext cx="1272744" cy="2495076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i="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Pre-launch</a:t>
          </a:r>
          <a:endParaRPr lang="en-US" sz="1000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Kick off meeting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b="1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Brainstorming during April Business Review with Marketing Team and Management for deeper integration of understanding Sanofi Purpose and Values.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</dsp:txBody>
      <dsp:txXfrm rot="10800000">
        <a:off x="304242" y="2041426"/>
        <a:ext cx="1194462" cy="2455935"/>
      </dsp:txXfrm>
    </dsp:sp>
    <dsp:sp modelId="{0A722DE0-55D5-43CC-861D-3AE221B73FC3}">
      <dsp:nvSpPr>
        <dsp:cNvPr id="0" name=""/>
        <dsp:cNvSpPr/>
      </dsp:nvSpPr>
      <dsp:spPr>
        <a:xfrm>
          <a:off x="1665119" y="272190"/>
          <a:ext cx="1272744" cy="149704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25E99C7B-5675-4F33-A006-F41517BABAC9}">
      <dsp:nvSpPr>
        <dsp:cNvPr id="0" name=""/>
        <dsp:cNvSpPr/>
      </dsp:nvSpPr>
      <dsp:spPr>
        <a:xfrm rot="10800000">
          <a:off x="1671012" y="2041426"/>
          <a:ext cx="1272744" cy="2495076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Launch Event with Sales Force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000" b="1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P &amp; V presentation</a:t>
          </a: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+</a:t>
          </a: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Discussion session</a:t>
          </a: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000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We asked our colleagues what is Courage, Teamwork, Integrity and Respect for them</a:t>
          </a:r>
        </a:p>
      </dsp:txBody>
      <dsp:txXfrm rot="10800000">
        <a:off x="1710153" y="2041426"/>
        <a:ext cx="1194462" cy="2455935"/>
      </dsp:txXfrm>
    </dsp:sp>
    <dsp:sp modelId="{94B93750-99F6-4A79-9E64-DC5D463CF13A}">
      <dsp:nvSpPr>
        <dsp:cNvPr id="0" name=""/>
        <dsp:cNvSpPr/>
      </dsp:nvSpPr>
      <dsp:spPr>
        <a:xfrm>
          <a:off x="4447376" y="291951"/>
          <a:ext cx="1272744" cy="149704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16B7145D-2AC9-4FD6-9F02-F7BCBD0BAC18}">
      <dsp:nvSpPr>
        <dsp:cNvPr id="0" name=""/>
        <dsp:cNvSpPr/>
      </dsp:nvSpPr>
      <dsp:spPr>
        <a:xfrm rot="10800000">
          <a:off x="3065138" y="2041426"/>
          <a:ext cx="1272744" cy="2495076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Purpose</a:t>
          </a:r>
          <a:endParaRPr lang="fr-FR" sz="1000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b="1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Brainstorming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000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We</a:t>
          </a:r>
          <a:r>
            <a:rPr lang="fr-FR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fr-FR" sz="1000" kern="12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had</a:t>
          </a:r>
          <a:r>
            <a:rPr lang="fr-FR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the </a:t>
          </a:r>
          <a:r>
            <a:rPr lang="fr-FR" sz="1000" kern="12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opportunity</a:t>
          </a:r>
          <a:r>
            <a:rPr lang="fr-FR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to </a:t>
          </a:r>
          <a:r>
            <a:rPr lang="fr-FR" sz="1000" kern="12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brainstorm</a:t>
          </a:r>
          <a:r>
            <a:rPr lang="fr-FR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in groups on CHC </a:t>
          </a:r>
          <a:r>
            <a:rPr lang="fr-FR" sz="1000" kern="12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purpose</a:t>
          </a:r>
          <a:r>
            <a:rPr lang="fr-FR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translation to French &amp; </a:t>
          </a:r>
          <a:r>
            <a:rPr lang="fr-FR" sz="1000" kern="12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Arabic</a:t>
          </a:r>
          <a:r>
            <a:rPr lang="fr-FR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en-US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to  better understand CHC purpose and embrace it.</a:t>
          </a:r>
        </a:p>
      </dsp:txBody>
      <dsp:txXfrm rot="10800000">
        <a:off x="3104279" y="2041426"/>
        <a:ext cx="1194462" cy="2455935"/>
      </dsp:txXfrm>
    </dsp:sp>
    <dsp:sp modelId="{0A255626-4AA2-475B-8AF4-BD09071F7BE4}">
      <dsp:nvSpPr>
        <dsp:cNvPr id="0" name=""/>
        <dsp:cNvSpPr/>
      </dsp:nvSpPr>
      <dsp:spPr>
        <a:xfrm>
          <a:off x="3065138" y="282070"/>
          <a:ext cx="1272744" cy="149704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62AF300F-CBDF-4AE0-899F-FF313C43CA3F}">
      <dsp:nvSpPr>
        <dsp:cNvPr id="0" name=""/>
        <dsp:cNvSpPr/>
      </dsp:nvSpPr>
      <dsp:spPr>
        <a:xfrm rot="10800000">
          <a:off x="4465157" y="2041426"/>
          <a:ext cx="1272744" cy="2495076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Purpose activation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b="1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Sharing Box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b="1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CHC team with </a:t>
          </a:r>
          <a:r>
            <a:rPr lang="en-US" sz="1000" kern="1200" dirty="0" err="1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Bex</a:t>
          </a:r>
          <a:r>
            <a:rPr lang="en-US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and IT teams  got som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customized team photos to keep a fun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souvenir of P&amp;V workshops and  to rekindles team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spirit.</a:t>
          </a:r>
        </a:p>
      </dsp:txBody>
      <dsp:txXfrm rot="10800000">
        <a:off x="4504298" y="2041426"/>
        <a:ext cx="1194462" cy="2455935"/>
      </dsp:txXfrm>
    </dsp:sp>
    <dsp:sp modelId="{C8EE1A2B-C499-4312-8654-A799B3EC3C12}">
      <dsp:nvSpPr>
        <dsp:cNvPr id="0" name=""/>
        <dsp:cNvSpPr/>
      </dsp:nvSpPr>
      <dsp:spPr>
        <a:xfrm>
          <a:off x="5865175" y="272190"/>
          <a:ext cx="1272744" cy="149704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4792B26F-589E-45D4-9EB6-54CEFDBF9D68}">
      <dsp:nvSpPr>
        <dsp:cNvPr id="0" name=""/>
        <dsp:cNvSpPr/>
      </dsp:nvSpPr>
      <dsp:spPr>
        <a:xfrm rot="10800000">
          <a:off x="5871170" y="2041426"/>
          <a:ext cx="1260754" cy="2495076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Values Activations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b="1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Puzzl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b="1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b="1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b="1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b="1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Groups had to complete puzzles representing CHC Values </a:t>
          </a:r>
        </a:p>
      </dsp:txBody>
      <dsp:txXfrm rot="10800000">
        <a:off x="5909943" y="2041426"/>
        <a:ext cx="1183208" cy="2456303"/>
      </dsp:txXfrm>
    </dsp:sp>
    <dsp:sp modelId="{926E9CDD-A5C2-4668-8CA4-5DECDE341B6C}">
      <dsp:nvSpPr>
        <dsp:cNvPr id="0" name=""/>
        <dsp:cNvSpPr/>
      </dsp:nvSpPr>
      <dsp:spPr>
        <a:xfrm>
          <a:off x="7265194" y="272190"/>
          <a:ext cx="1272744" cy="149704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FD9ED4AB-53A7-43C2-895A-2997D611C455}">
      <dsp:nvSpPr>
        <dsp:cNvPr id="0" name=""/>
        <dsp:cNvSpPr/>
      </dsp:nvSpPr>
      <dsp:spPr>
        <a:xfrm rot="10800000">
          <a:off x="7265194" y="2041426"/>
          <a:ext cx="1272744" cy="2495076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Values Activation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b="1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F1 Challeng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 dirty="0" smtClean="0">
            <a:solidFill>
              <a:srgbClr val="525CA3">
                <a:hueOff val="0"/>
                <a:satOff val="0"/>
                <a:lumOff val="0"/>
                <a:alphaOff val="0"/>
              </a:srgbClr>
            </a:solidFill>
            <a:latin typeface="Arial" panose="020B0604020202020204"/>
            <a:ea typeface="+mn-ea"/>
            <a:cs typeface="+mn-cs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rgbClr val="525CA3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The teams were challenged  to design and build their very own concept car for a human powered race in the end</a:t>
          </a:r>
        </a:p>
      </dsp:txBody>
      <dsp:txXfrm rot="10800000">
        <a:off x="7304335" y="2041426"/>
        <a:ext cx="1194462" cy="24559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27F734-33BD-44CC-B8BA-77F426E60232}">
      <dsp:nvSpPr>
        <dsp:cNvPr id="0" name=""/>
        <dsp:cNvSpPr/>
      </dsp:nvSpPr>
      <dsp:spPr>
        <a:xfrm>
          <a:off x="1484071" y="2938122"/>
          <a:ext cx="1724558" cy="1480584"/>
        </a:xfrm>
        <a:prstGeom prst="hexagon">
          <a:avLst>
            <a:gd name="adj" fmla="val 25000"/>
            <a:gd name="vf" fmla="val 115470"/>
          </a:avLst>
        </a:prstGeom>
        <a:solidFill>
          <a:srgbClr val="0070C0"/>
        </a:solidFill>
        <a:ln w="25400" cap="flat" cmpd="sng" algn="ctr">
          <a:solidFill>
            <a:srgbClr val="33CC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0320" rIns="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1 ambassador</a:t>
          </a:r>
          <a:endParaRPr lang="en-US" sz="1600" kern="1200" dirty="0"/>
        </a:p>
      </dsp:txBody>
      <dsp:txXfrm>
        <a:off x="1751166" y="3167431"/>
        <a:ext cx="1190368" cy="1021966"/>
      </dsp:txXfrm>
    </dsp:sp>
    <dsp:sp modelId="{47385482-2D08-4C32-A66F-95BD64FE7A0C}">
      <dsp:nvSpPr>
        <dsp:cNvPr id="0" name=""/>
        <dsp:cNvSpPr/>
      </dsp:nvSpPr>
      <dsp:spPr>
        <a:xfrm>
          <a:off x="1525219" y="3600188"/>
          <a:ext cx="201168" cy="17339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CC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243C19-C126-4B17-BE97-B6FCAC52F6C7}">
      <dsp:nvSpPr>
        <dsp:cNvPr id="0" name=""/>
        <dsp:cNvSpPr/>
      </dsp:nvSpPr>
      <dsp:spPr>
        <a:xfrm>
          <a:off x="0" y="2119603"/>
          <a:ext cx="1724558" cy="1480584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9E9167-7A10-41AD-825C-2DBDE6F3B601}">
      <dsp:nvSpPr>
        <dsp:cNvPr id="0" name=""/>
        <dsp:cNvSpPr/>
      </dsp:nvSpPr>
      <dsp:spPr>
        <a:xfrm>
          <a:off x="1181404" y="3403539"/>
          <a:ext cx="201168" cy="17339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1593535"/>
              <a:satOff val="6206"/>
              <a:lumOff val="-252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A70E38-098C-472E-98DC-864F8A7B513A}">
      <dsp:nvSpPr>
        <dsp:cNvPr id="0" name=""/>
        <dsp:cNvSpPr/>
      </dsp:nvSpPr>
      <dsp:spPr>
        <a:xfrm>
          <a:off x="2968142" y="2114874"/>
          <a:ext cx="1724558" cy="1480584"/>
        </a:xfrm>
        <a:prstGeom prst="hexagon">
          <a:avLst>
            <a:gd name="adj" fmla="val 25000"/>
            <a:gd name="vf" fmla="val 115470"/>
          </a:avLst>
        </a:prstGeom>
        <a:solidFill>
          <a:srgbClr val="FFC000"/>
        </a:solidFill>
        <a:ln w="25400" cap="flat" cmpd="sng" algn="ctr">
          <a:solidFill>
            <a:srgbClr val="FFC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2860" rIns="0" bIns="2286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2 countries</a:t>
          </a:r>
          <a:endParaRPr lang="en-US" sz="1800" b="1" kern="1200" dirty="0"/>
        </a:p>
      </dsp:txBody>
      <dsp:txXfrm>
        <a:off x="3235237" y="2344183"/>
        <a:ext cx="1190368" cy="1021966"/>
      </dsp:txXfrm>
    </dsp:sp>
    <dsp:sp modelId="{9FB87888-2E77-4C1B-B8DB-0649318AA321}">
      <dsp:nvSpPr>
        <dsp:cNvPr id="0" name=""/>
        <dsp:cNvSpPr/>
      </dsp:nvSpPr>
      <dsp:spPr>
        <a:xfrm>
          <a:off x="4155033" y="3395657"/>
          <a:ext cx="201168" cy="17339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FFC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3CCA4A9-9791-44B8-A715-A23C62DC2FD5}">
      <dsp:nvSpPr>
        <dsp:cNvPr id="0" name=""/>
        <dsp:cNvSpPr/>
      </dsp:nvSpPr>
      <dsp:spPr>
        <a:xfrm>
          <a:off x="4451299" y="2934969"/>
          <a:ext cx="1724558" cy="1480584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2000" r="-32000"/>
          </a:stretch>
        </a:blipFill>
        <a:ln w="25400" cap="flat" cmpd="sng" algn="ctr">
          <a:solidFill>
            <a:srgbClr val="FFC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F568E05-3024-4E96-8B9C-4EBC090FC538}">
      <dsp:nvSpPr>
        <dsp:cNvPr id="0" name=""/>
        <dsp:cNvSpPr/>
      </dsp:nvSpPr>
      <dsp:spPr>
        <a:xfrm>
          <a:off x="4493361" y="3593883"/>
          <a:ext cx="201168" cy="17339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FFC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E2B25B-B9DB-415C-98BB-C679B3070FB8}">
      <dsp:nvSpPr>
        <dsp:cNvPr id="0" name=""/>
        <dsp:cNvSpPr/>
      </dsp:nvSpPr>
      <dsp:spPr>
        <a:xfrm>
          <a:off x="1484071" y="1301085"/>
          <a:ext cx="1724558" cy="1480584"/>
        </a:xfrm>
        <a:prstGeom prst="hexagon">
          <a:avLst>
            <a:gd name="adj" fmla="val 25000"/>
            <a:gd name="vf" fmla="val 115470"/>
          </a:avLst>
        </a:prstGeom>
        <a:solidFill>
          <a:srgbClr val="00B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2860" rIns="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i="1" kern="1200" dirty="0" smtClean="0"/>
            <a:t>To Serve Healthier, Fuller Lives</a:t>
          </a:r>
          <a:endParaRPr lang="en-US" sz="1800" kern="1200" dirty="0"/>
        </a:p>
      </dsp:txBody>
      <dsp:txXfrm>
        <a:off x="1751166" y="1530394"/>
        <a:ext cx="1190368" cy="1021966"/>
      </dsp:txXfrm>
    </dsp:sp>
    <dsp:sp modelId="{25FAF201-EE15-45B6-A097-CDFCF63C6ABB}">
      <dsp:nvSpPr>
        <dsp:cNvPr id="0" name=""/>
        <dsp:cNvSpPr/>
      </dsp:nvSpPr>
      <dsp:spPr>
        <a:xfrm>
          <a:off x="2665476" y="1329065"/>
          <a:ext cx="201168" cy="17339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6374142"/>
              <a:satOff val="24825"/>
              <a:lumOff val="-1010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42E8CF-A366-4356-B0CB-1E01D03D4724}">
      <dsp:nvSpPr>
        <dsp:cNvPr id="0" name=""/>
        <dsp:cNvSpPr/>
      </dsp:nvSpPr>
      <dsp:spPr>
        <a:xfrm>
          <a:off x="2968142" y="477837"/>
          <a:ext cx="1724558" cy="1480584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25400" cap="flat" cmpd="sng" algn="ctr">
          <a:solidFill>
            <a:srgbClr val="FF339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2ED172-8A31-486C-B063-972D5EB76172}">
      <dsp:nvSpPr>
        <dsp:cNvPr id="0" name=""/>
        <dsp:cNvSpPr/>
      </dsp:nvSpPr>
      <dsp:spPr>
        <a:xfrm>
          <a:off x="3016605" y="1133992"/>
          <a:ext cx="201168" cy="17339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FF339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4B0C7C-D392-4240-B8E9-B47BA73026C3}">
      <dsp:nvSpPr>
        <dsp:cNvPr id="0" name=""/>
        <dsp:cNvSpPr/>
      </dsp:nvSpPr>
      <dsp:spPr>
        <a:xfrm>
          <a:off x="4451299" y="1297932"/>
          <a:ext cx="1724558" cy="1480584"/>
        </a:xfrm>
        <a:prstGeom prst="hexagon">
          <a:avLst>
            <a:gd name="adj" fmla="val 25000"/>
            <a:gd name="vf" fmla="val 115470"/>
          </a:avLst>
        </a:prstGeom>
        <a:solidFill>
          <a:srgbClr val="FF9933"/>
        </a:solidFill>
        <a:ln w="25400" cap="flat" cmpd="sng" algn="ctr">
          <a:solidFill>
            <a:srgbClr val="FFC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0320" rIns="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100% Awareness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CHC Team</a:t>
          </a:r>
          <a:endParaRPr lang="en-US" sz="1600" b="1" kern="1200" dirty="0"/>
        </a:p>
      </dsp:txBody>
      <dsp:txXfrm>
        <a:off x="4718394" y="1527241"/>
        <a:ext cx="1190368" cy="1021966"/>
      </dsp:txXfrm>
    </dsp:sp>
    <dsp:sp modelId="{09775A38-376F-4458-A47F-0B6177718CA9}">
      <dsp:nvSpPr>
        <dsp:cNvPr id="0" name=""/>
        <dsp:cNvSpPr/>
      </dsp:nvSpPr>
      <dsp:spPr>
        <a:xfrm>
          <a:off x="5943600" y="1954087"/>
          <a:ext cx="201168" cy="17339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FFC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D2777F-5DFD-4549-BDF7-00516995F3EF}">
      <dsp:nvSpPr>
        <dsp:cNvPr id="0" name=""/>
        <dsp:cNvSpPr/>
      </dsp:nvSpPr>
      <dsp:spPr>
        <a:xfrm>
          <a:off x="5935370" y="2130244"/>
          <a:ext cx="1724558" cy="1480584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  <a:ln w="25400" cap="flat" cmpd="sng" algn="ctr">
          <a:solidFill>
            <a:schemeClr val="accent1">
              <a:lumMod val="20000"/>
              <a:lumOff val="8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02338A-31A9-45EB-9124-72A6647EE062}">
      <dsp:nvSpPr>
        <dsp:cNvPr id="0" name=""/>
        <dsp:cNvSpPr/>
      </dsp:nvSpPr>
      <dsp:spPr>
        <a:xfrm>
          <a:off x="6271869" y="2157042"/>
          <a:ext cx="201168" cy="17339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11154748"/>
              <a:satOff val="43444"/>
              <a:lumOff val="-1769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32B43B-63EA-49F8-B761-4D4F6BA26424}">
      <dsp:nvSpPr>
        <dsp:cNvPr id="0" name=""/>
        <dsp:cNvSpPr/>
      </dsp:nvSpPr>
      <dsp:spPr>
        <a:xfrm>
          <a:off x="5935370" y="493601"/>
          <a:ext cx="1724558" cy="1480584"/>
        </a:xfrm>
        <a:prstGeom prst="hexagon">
          <a:avLst>
            <a:gd name="adj" fmla="val 25000"/>
            <a:gd name="vf" fmla="val 115470"/>
          </a:avLst>
        </a:prstGeom>
        <a:solidFill>
          <a:srgbClr val="FF3399"/>
        </a:solidFill>
        <a:ln w="25400" cap="flat" cmpd="sng" algn="ctr">
          <a:solidFill>
            <a:schemeClr val="accent1">
              <a:lumMod val="20000"/>
              <a:lumOff val="8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5240" rIns="0" bIns="152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	</a:t>
          </a:r>
          <a:endParaRPr lang="en-US" sz="14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Management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Sales Forces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Marketing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NPL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Medical</a:t>
          </a:r>
          <a:endParaRPr lang="en-US" sz="1200" kern="1200" dirty="0"/>
        </a:p>
      </dsp:txBody>
      <dsp:txXfrm>
        <a:off x="6202465" y="722910"/>
        <a:ext cx="1190368" cy="1021966"/>
      </dsp:txXfrm>
    </dsp:sp>
    <dsp:sp modelId="{A50782FE-2CF8-4473-87F7-3C00129BCFF4}">
      <dsp:nvSpPr>
        <dsp:cNvPr id="0" name=""/>
        <dsp:cNvSpPr/>
      </dsp:nvSpPr>
      <dsp:spPr>
        <a:xfrm>
          <a:off x="7427671" y="1157243"/>
          <a:ext cx="201168" cy="17339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lumMod val="20000"/>
              <a:lumOff val="8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891812-F15C-4AC9-B384-32579FC23223}">
      <dsp:nvSpPr>
        <dsp:cNvPr id="0" name=""/>
        <dsp:cNvSpPr/>
      </dsp:nvSpPr>
      <dsp:spPr>
        <a:xfrm>
          <a:off x="7419441" y="1319607"/>
          <a:ext cx="1724558" cy="1480584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1DF309-A065-4B8F-82EC-7332B5465321}">
      <dsp:nvSpPr>
        <dsp:cNvPr id="0" name=""/>
        <dsp:cNvSpPr/>
      </dsp:nvSpPr>
      <dsp:spPr>
        <a:xfrm>
          <a:off x="7763256" y="1352710"/>
          <a:ext cx="201168" cy="17339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38A6C5-2CDD-4F67-A078-9C078828947D}" type="datetimeFigureOut">
              <a:rPr lang="fr-FR" smtClean="0"/>
              <a:t>13/11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121076-D7E9-4C99-943E-6A7AA3459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9702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659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9694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4569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A0C6CBA3-07E0-4E5A-9CBC-84DDD6F62137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048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15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4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4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3762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80" y="15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182E74FB-98A9-4760-AAB1-CA40FB5892D0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94124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1E535B98-BEBB-425D-BC8E-307821EDBAC0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4376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557216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96E64F78-AC8F-42E3-9C77-64ECDFE42C1E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565018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1"/>
            <a:ext cx="8613660" cy="847899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67"/>
            <a:ext cx="8613660" cy="232821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8A5DD0B-47B8-4FFF-85E0-6207ABAD9D9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340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14"/>
            <a:ext cx="8553796" cy="90011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8A5DD0B-47B8-4FFF-85E0-6207ABAD9D9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6396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110" y="2176478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E7423CB-C39B-46B7-9A76-B744759BC044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6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45723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2346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84221" y="1350965"/>
            <a:ext cx="7940675" cy="4598987"/>
          </a:xfrm>
        </p:spPr>
        <p:txBody>
          <a:bodyPr/>
          <a:lstStyle>
            <a:lvl1pPr>
              <a:buClr>
                <a:schemeClr val="tx1"/>
              </a:buClr>
              <a:defRPr sz="16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4969464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0694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A0C6CBA3-07E0-4E5A-9CBC-84DDD6F62137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3280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15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4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4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CCA6D8E2-A421-439A-9542-C7671204AF4F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5442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80" y="15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182E74FB-98A9-4760-AAB1-CA40FB5892D0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8729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1E535B98-BEBB-425D-BC8E-307821EDBAC0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7555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557216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96E64F78-AC8F-42E3-9C77-64ECDFE42C1E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476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1"/>
            <a:ext cx="8613660" cy="847899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67"/>
            <a:ext cx="8613660" cy="232821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8A5DD0B-47B8-4FFF-85E0-6207ABAD9D9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2474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14"/>
            <a:ext cx="8553796" cy="90011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8A5DD0B-47B8-4FFF-85E0-6207ABAD9D9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692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110" y="2176478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8E7423CB-C39B-46B7-9A76-B744759BC044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701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8083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399368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17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74" y="284178"/>
            <a:ext cx="7939087" cy="841375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74" y="1390663"/>
            <a:ext cx="7939087" cy="4248151"/>
          </a:xfrm>
        </p:spPr>
        <p:txBody>
          <a:bodyPr/>
          <a:lstStyle/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3825" y="6427788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444492"/>
                </a:solidFill>
              </a:rPr>
              <a:t>BiYond Eurasia overview</a:t>
            </a:r>
            <a:endParaRPr lang="en-US">
              <a:solidFill>
                <a:srgbClr val="444492"/>
              </a:solidFill>
            </a:endParaRP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 </a:t>
            </a:r>
            <a:fld id="{2055171F-CD83-4488-84E0-4CA1E5B3EB1A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628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84221" y="1350965"/>
            <a:ext cx="7940675" cy="4598987"/>
          </a:xfrm>
        </p:spPr>
        <p:txBody>
          <a:bodyPr/>
          <a:lstStyle>
            <a:lvl1pPr>
              <a:buClr>
                <a:schemeClr val="tx1"/>
              </a:buClr>
              <a:defRPr sz="1600"/>
            </a:lvl1pPr>
            <a:lvl2pPr>
              <a:buClr>
                <a:schemeClr val="tx1"/>
              </a:buCl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5508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3913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1826" y="625476"/>
            <a:ext cx="7935913" cy="552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4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pic>
        <p:nvPicPr>
          <p:cNvPr id="6" name="Picture 2" descr="C:\Users\I0136597\AppData\Local\Microsoft\Windows\Temporary Internet Files\Content.Outlook\QVH0L5KS\CATEGORIES_LOGOS-06.jp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7443" y="6178114"/>
            <a:ext cx="1944216" cy="59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71335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pic>
        <p:nvPicPr>
          <p:cNvPr id="6" name="Picture 13" descr="C:\Users\I0136597\AppData\Local\Microsoft\Windows\Temporary Internet Files\Content.Outlook\3XJJ9U53\enterogermina logo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8223" y="6155338"/>
            <a:ext cx="1979515" cy="567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04525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558012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1"/>
            <a:ext cx="3854451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4" y="1390651"/>
            <a:ext cx="3856037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86725" y="6424613"/>
            <a:ext cx="482600" cy="234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/>
            <a:r>
              <a:rPr lang="en-US" altLang="en-US" dirty="0">
                <a:solidFill>
                  <a:srgbClr val="444492"/>
                </a:solidFill>
              </a:rPr>
              <a:t>|</a:t>
            </a:r>
            <a:r>
              <a:rPr lang="en-US" altLang="en-US" sz="900" baseline="16000" dirty="0">
                <a:solidFill>
                  <a:srgbClr val="444492"/>
                </a:solidFill>
              </a:rPr>
              <a:t>        </a:t>
            </a:r>
            <a:fld id="{7C645994-E74E-4F08-BBF2-7D94D4B6F15B}" type="slidenum">
              <a:rPr lang="en-US" altLang="en-US">
                <a:solidFill>
                  <a:srgbClr val="444492"/>
                </a:solidFill>
              </a:rPr>
              <a:pPr defTabSz="457200"/>
              <a:t>‹N°›</a:t>
            </a:fld>
            <a:endParaRPr lang="en-US" altLang="en-US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119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86725" y="6424613"/>
            <a:ext cx="482600" cy="234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/>
            <a:r>
              <a:rPr lang="en-US" altLang="en-US" dirty="0">
                <a:solidFill>
                  <a:srgbClr val="444492"/>
                </a:solidFill>
              </a:rPr>
              <a:t>|</a:t>
            </a:r>
            <a:r>
              <a:rPr lang="en-US" altLang="en-US" sz="900" baseline="16000" dirty="0">
                <a:solidFill>
                  <a:srgbClr val="444492"/>
                </a:solidFill>
              </a:rPr>
              <a:t>        </a:t>
            </a:r>
            <a:fld id="{FA7D71AC-877C-4BB8-A661-9D14440C0301}" type="slidenum">
              <a:rPr lang="en-US" altLang="en-US">
                <a:solidFill>
                  <a:srgbClr val="444492"/>
                </a:solidFill>
              </a:rPr>
              <a:pPr defTabSz="457200"/>
              <a:t>‹N°›</a:t>
            </a:fld>
            <a:endParaRPr lang="en-US" altLang="en-US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3095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86725" y="6424613"/>
            <a:ext cx="482600" cy="234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/>
            <a:r>
              <a:rPr lang="en-US" altLang="en-US" dirty="0">
                <a:solidFill>
                  <a:srgbClr val="444492"/>
                </a:solidFill>
              </a:rPr>
              <a:t>|</a:t>
            </a:r>
            <a:r>
              <a:rPr lang="en-US" altLang="en-US" sz="900" baseline="16000" dirty="0">
                <a:solidFill>
                  <a:srgbClr val="444492"/>
                </a:solidFill>
              </a:rPr>
              <a:t>        </a:t>
            </a:r>
            <a:fld id="{C3AE1D28-3081-4038-B4F1-BB43D6282F5E}" type="slidenum">
              <a:rPr lang="en-US" altLang="en-US">
                <a:solidFill>
                  <a:srgbClr val="444492"/>
                </a:solidFill>
              </a:rPr>
              <a:pPr defTabSz="457200"/>
              <a:t>‹N°›</a:t>
            </a:fld>
            <a:endParaRPr lang="en-US" altLang="en-US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717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631826" y="625476"/>
            <a:ext cx="7935913" cy="5527675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 smtClean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8086725" y="6424613"/>
            <a:ext cx="482600" cy="2349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457200"/>
            <a:r>
              <a:rPr lang="en-US" altLang="en-US" dirty="0">
                <a:solidFill>
                  <a:srgbClr val="444492"/>
                </a:solidFill>
              </a:rPr>
              <a:t>|</a:t>
            </a:r>
            <a:r>
              <a:rPr lang="en-US" altLang="en-US" sz="900" baseline="16000" dirty="0">
                <a:solidFill>
                  <a:srgbClr val="444492"/>
                </a:solidFill>
              </a:rPr>
              <a:t>        </a:t>
            </a:r>
            <a:fld id="{44D4EAE0-4A1A-4C6C-BC10-89646D17FB3F}" type="slidenum">
              <a:rPr lang="en-US" altLang="en-US">
                <a:solidFill>
                  <a:srgbClr val="444492"/>
                </a:solidFill>
              </a:rPr>
              <a:pPr defTabSz="457200"/>
              <a:t>‹N°›</a:t>
            </a:fld>
            <a:endParaRPr lang="en-US" altLang="en-US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9964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1385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84213" y="260351"/>
            <a:ext cx="7940675" cy="576263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611189" y="1350963"/>
            <a:ext cx="7956551" cy="22225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1189" y="3725864"/>
            <a:ext cx="7956551" cy="2224087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9709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11190" y="260351"/>
            <a:ext cx="7956549" cy="900113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611189" y="1350964"/>
            <a:ext cx="7956551" cy="4598987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19394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1664" y="260351"/>
            <a:ext cx="7940675" cy="576263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611189" y="1350964"/>
            <a:ext cx="3902075" cy="4598987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65664" y="1350964"/>
            <a:ext cx="3902075" cy="4598987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485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re. Contenu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4" y="284164"/>
            <a:ext cx="7858125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1"/>
            <a:ext cx="3854451" cy="42481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633914" y="1390651"/>
            <a:ext cx="3856037" cy="42481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86725" y="6424613"/>
            <a:ext cx="482600" cy="234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/>
            <a:r>
              <a:rPr lang="en-US" altLang="en-US" dirty="0">
                <a:solidFill>
                  <a:srgbClr val="444492"/>
                </a:solidFill>
              </a:rPr>
              <a:t>|</a:t>
            </a:r>
            <a:r>
              <a:rPr lang="en-US" altLang="en-US" sz="900" baseline="16000" dirty="0">
                <a:solidFill>
                  <a:srgbClr val="444492"/>
                </a:solidFill>
              </a:rPr>
              <a:t>        </a:t>
            </a:r>
            <a:fld id="{4D61CEEE-FC7C-45B2-B60C-BAA9916EC083}" type="slidenum">
              <a:rPr lang="en-US" altLang="en-US">
                <a:solidFill>
                  <a:srgbClr val="444492"/>
                </a:solidFill>
              </a:rPr>
              <a:pPr defTabSz="457200"/>
              <a:t>‹N°›</a:t>
            </a:fld>
            <a:endParaRPr lang="en-US" altLang="en-US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5959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4338638" y="6453376"/>
            <a:ext cx="466725" cy="360000"/>
          </a:xfrm>
          <a:prstGeom prst="rect">
            <a:avLst/>
          </a:prstGeom>
        </p:spPr>
        <p:txBody>
          <a:bodyPr anchor="ctr"/>
          <a:lstStyle>
            <a:lvl1pPr algn="ctr">
              <a:defRPr sz="1000" b="0">
                <a:solidFill>
                  <a:schemeClr val="accent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1748D8EB-9301-403A-889B-E8DDB32CFF4A}" type="slidenum">
              <a:rPr lang="en-GB" smtClean="0">
                <a:solidFill>
                  <a:srgbClr val="9690C4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GB" dirty="0">
              <a:solidFill>
                <a:srgbClr val="9690C4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26157" y="161750"/>
            <a:ext cx="8415339" cy="511200"/>
          </a:xfrm>
          <a:prstGeom prst="rect">
            <a:avLst/>
          </a:prstGeom>
        </p:spPr>
        <p:txBody>
          <a:bodyPr/>
          <a:lstStyle>
            <a:lvl1pPr>
              <a:defRPr b="0" spc="-15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26157" y="559024"/>
            <a:ext cx="8416800" cy="5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spc="-15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196970" y="6381328"/>
            <a:ext cx="866480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C7C2BA"/>
            </a:solidFill>
            <a:prstDash val="solid"/>
            <a:miter lim="800000"/>
            <a:headEnd type="none" w="med" len="med"/>
            <a:tailEnd type="non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294200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ange 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4"/>
          <p:cNvSpPr>
            <a:spLocks noGrp="1"/>
          </p:cNvSpPr>
          <p:nvPr>
            <p:ph type="title"/>
          </p:nvPr>
        </p:nvSpPr>
        <p:spPr>
          <a:xfrm>
            <a:off x="798513" y="61916"/>
            <a:ext cx="7823200" cy="87312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/>
              <a:buNone/>
              <a:defRPr lang="en-US" sz="2000" b="1" dirty="0">
                <a:solidFill>
                  <a:schemeClr val="accent6"/>
                </a:solidFill>
                <a:latin typeface="Georgia"/>
                <a:ea typeface="ＭＳ Ｐゴシック" charset="-128"/>
                <a:cs typeface="Georgi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782639" y="1128713"/>
            <a:ext cx="7632700" cy="4825827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None/>
              <a:defRPr sz="1700">
                <a:latin typeface="Georgia"/>
                <a:cs typeface="Georgia"/>
              </a:defRPr>
            </a:lvl1pPr>
            <a:lvl2pPr marL="228600" indent="-228600" algn="l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accent6"/>
              </a:buClr>
              <a:buFont typeface="Arial" pitchFamily="34" charset="0"/>
              <a:buChar char="•"/>
              <a:defRPr sz="1700">
                <a:latin typeface="Georgia"/>
                <a:cs typeface="Georgia"/>
              </a:defRPr>
            </a:lvl2pPr>
            <a:lvl3pPr marL="457200" indent="-228600" algn="l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accent6"/>
              </a:buClr>
              <a:buFont typeface="Arial" pitchFamily="34" charset="0"/>
              <a:buChar char="•"/>
              <a:defRPr sz="1700">
                <a:latin typeface="Georgia"/>
                <a:cs typeface="Georgia"/>
              </a:defRPr>
            </a:lvl3pPr>
            <a:lvl4pPr marL="685800" indent="-228600" algn="l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accent6"/>
              </a:buClr>
              <a:buFont typeface="Arial" pitchFamily="34" charset="0"/>
              <a:buChar char="•"/>
              <a:defRPr sz="1700">
                <a:latin typeface="Georgia"/>
                <a:cs typeface="Georgia"/>
              </a:defRPr>
            </a:lvl4pPr>
            <a:lvl5pPr marL="914400" indent="-228600" algn="l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accent6"/>
              </a:buClr>
              <a:buFont typeface="Arial" pitchFamily="34" charset="0"/>
              <a:buChar char="•"/>
              <a:defRPr sz="1700">
                <a:latin typeface="Georgia"/>
                <a:cs typeface="Georgia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991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26157" y="161750"/>
            <a:ext cx="8415339" cy="511200"/>
          </a:xfrm>
          <a:prstGeom prst="rect">
            <a:avLst/>
          </a:prstGeom>
        </p:spPr>
        <p:txBody>
          <a:bodyPr/>
          <a:lstStyle>
            <a:lvl1pPr>
              <a:defRPr spc="-15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4393308" y="6344625"/>
            <a:ext cx="466725" cy="3600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C7C2BA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1748D8EB-9301-403A-889B-E8DDB32CFF4A}" type="slidenum">
              <a:rPr lang="en-GB" b="1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4046904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544" y="1196975"/>
            <a:ext cx="7200081" cy="540037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63722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25391" y="115837"/>
            <a:ext cx="6995081" cy="504851"/>
          </a:xfrm>
          <a:prstGeom prst="rect">
            <a:avLst/>
          </a:prstGeom>
        </p:spPr>
        <p:txBody>
          <a:bodyPr/>
          <a:lstStyle>
            <a:lvl1pPr>
              <a:defRPr cap="all"/>
            </a:lvl1pPr>
          </a:lstStyle>
          <a:p>
            <a:r>
              <a:rPr lang="fr-FR" noProof="0" dirty="0" smtClean="0"/>
              <a:t>Click to </a:t>
            </a:r>
            <a:r>
              <a:rPr lang="fr-FR" noProof="0" dirty="0" err="1" smtClean="0"/>
              <a:t>edit</a:t>
            </a:r>
            <a:r>
              <a:rPr lang="fr-FR" noProof="0" dirty="0" smtClean="0"/>
              <a:t> Master </a:t>
            </a:r>
            <a:r>
              <a:rPr lang="fr-FR" noProof="0" dirty="0" err="1" smtClean="0"/>
              <a:t>title</a:t>
            </a:r>
            <a:r>
              <a:rPr lang="fr-FR" noProof="0" dirty="0" smtClean="0"/>
              <a:t> style</a:t>
            </a:r>
            <a:endParaRPr lang="fr-FR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23528" y="1412776"/>
            <a:ext cx="8568951" cy="4248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noProof="0" dirty="0" smtClean="0"/>
              <a:t>Modifiez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  <a:endParaRPr lang="fr-FR" noProof="0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2"/>
          </p:nvPr>
        </p:nvSpPr>
        <p:spPr>
          <a:xfrm>
            <a:off x="1825390" y="489890"/>
            <a:ext cx="6995081" cy="50405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2300" b="1" kern="1200" dirty="0">
                <a:solidFill>
                  <a:srgbClr val="3650A4"/>
                </a:solidFill>
                <a:latin typeface="Calibri" pitchFamily="34" charset="0"/>
                <a:ea typeface="MS PGothic" pitchFamily="34" charset="-128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sub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7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148263" y="6432550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444492"/>
              </a:solidFill>
            </a:endParaRPr>
          </a:p>
        </p:txBody>
      </p:sp>
      <p:sp>
        <p:nvSpPr>
          <p:cNvPr id="8" name="Rectangle 4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86725" y="6424613"/>
            <a:ext cx="482600" cy="234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r>
              <a:rPr lang="fr-FR">
                <a:solidFill>
                  <a:srgbClr val="444492"/>
                </a:solidFill>
              </a:rPr>
              <a:t>|</a:t>
            </a:r>
            <a:r>
              <a:rPr lang="fr-FR" sz="900" baseline="16000">
                <a:solidFill>
                  <a:srgbClr val="444492"/>
                </a:solidFill>
              </a:rPr>
              <a:t>        </a:t>
            </a:r>
            <a:fld id="{E2B7ED72-1C99-420F-AB11-216782D448A3}" type="slidenum">
              <a:rPr lang="fr-FR">
                <a:solidFill>
                  <a:srgbClr val="444492"/>
                </a:solidFill>
              </a:rPr>
              <a:pPr defTabSz="457200">
                <a:defRPr/>
              </a:pPr>
              <a:t>‹N°›</a:t>
            </a:fld>
            <a:endParaRPr 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500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27073" y="1227908"/>
            <a:ext cx="7902983" cy="46373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fr-FR" noProof="0" dirty="0" smtClean="0"/>
              <a:t>Cliquez pour modifier les styles du texte du masque</a:t>
            </a:r>
          </a:p>
          <a:p>
            <a:pPr lvl="1"/>
            <a:r>
              <a:rPr lang="fr-FR" noProof="0" dirty="0" smtClean="0"/>
              <a:t>Deuxième niveau</a:t>
            </a:r>
          </a:p>
          <a:p>
            <a:pPr lvl="2"/>
            <a:r>
              <a:rPr lang="fr-FR" noProof="0" dirty="0" smtClean="0"/>
              <a:t>Troisième niveau</a:t>
            </a:r>
          </a:p>
          <a:p>
            <a:pPr lvl="3"/>
            <a:r>
              <a:rPr lang="fr-FR" noProof="0" dirty="0" smtClean="0"/>
              <a:t>Quatrième niveau</a:t>
            </a:r>
          </a:p>
          <a:p>
            <a:pPr lvl="4"/>
            <a:r>
              <a:rPr lang="fr-FR" noProof="0" dirty="0" smtClean="0"/>
              <a:t>Cinquième niveau</a:t>
            </a:r>
          </a:p>
        </p:txBody>
      </p:sp>
      <p:sp>
        <p:nvSpPr>
          <p:cNvPr id="4" name="Espace réservé du pied de page 2"/>
          <p:cNvSpPr>
            <a:spLocks noGrp="1"/>
          </p:cNvSpPr>
          <p:nvPr>
            <p:ph type="ftr" sz="quarter" idx="10"/>
          </p:nvPr>
        </p:nvSpPr>
        <p:spPr>
          <a:xfrm>
            <a:off x="5165744" y="6427937"/>
            <a:ext cx="2895600" cy="238125"/>
          </a:xfrm>
          <a:prstGeom prst="rect">
            <a:avLst/>
          </a:prstGeom>
        </p:spPr>
        <p:txBody>
          <a:bodyPr/>
          <a:lstStyle>
            <a:lvl1pPr>
              <a:defRPr b="1" dirty="0" smtClean="0">
                <a:solidFill>
                  <a:schemeClr val="tx1">
                    <a:lumMod val="7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457200">
              <a:defRPr/>
            </a:pPr>
            <a:endParaRPr lang="fr-FR">
              <a:solidFill>
                <a:srgbClr val="444492">
                  <a:lumMod val="75000"/>
                </a:srgbClr>
              </a:solidFill>
            </a:endParaRPr>
          </a:p>
        </p:txBody>
      </p:sp>
      <p:sp>
        <p:nvSpPr>
          <p:cNvPr id="6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086746" y="6424615"/>
            <a:ext cx="482600" cy="234951"/>
          </a:xfrm>
          <a:prstGeom prst="rect">
            <a:avLst/>
          </a:prstGeom>
        </p:spPr>
        <p:txBody>
          <a:bodyPr/>
          <a:lstStyle>
            <a:lvl1pPr>
              <a:defRPr b="1" smtClean="0">
                <a:solidFill>
                  <a:schemeClr val="tx1">
                    <a:lumMod val="7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457200">
              <a:defRPr/>
            </a:pPr>
            <a:r>
              <a:rPr lang="fr-FR">
                <a:solidFill>
                  <a:srgbClr val="444492">
                    <a:lumMod val="75000"/>
                  </a:srgbClr>
                </a:solidFill>
              </a:rPr>
              <a:t>|</a:t>
            </a:r>
            <a:r>
              <a:rPr lang="fr-FR" sz="900" baseline="16000">
                <a:solidFill>
                  <a:srgbClr val="444492">
                    <a:lumMod val="75000"/>
                  </a:srgbClr>
                </a:solidFill>
              </a:rPr>
              <a:t>        </a:t>
            </a:r>
            <a:fld id="{43122EF2-DA96-4E2E-8557-D44424C2BF1E}" type="slidenum">
              <a:rPr lang="fr-FR">
                <a:solidFill>
                  <a:srgbClr val="444492">
                    <a:lumMod val="75000"/>
                  </a:srgbClr>
                </a:solidFill>
              </a:rPr>
              <a:pPr defTabSz="457200">
                <a:defRPr/>
              </a:pPr>
              <a:t>‹N°›</a:t>
            </a:fld>
            <a:endParaRPr lang="fr-FR">
              <a:solidFill>
                <a:srgbClr val="444492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531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00262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/>
              <a:t>|</a:t>
            </a:r>
            <a:r>
              <a:rPr lang="en-US" sz="900" baseline="16000" dirty="0" smtClean="0"/>
              <a:t>        </a:t>
            </a:r>
            <a:fld id="{C8A5DD0B-47B8-4FFF-85E0-6207ABAD9D9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4679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2887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739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defTabSz="457200" eaLnBrk="0" hangingPunct="0">
              <a:defRPr/>
            </a:pPr>
            <a:endParaRPr lang="en-US" dirty="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27624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2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image" Target="../media/image7.jpeg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image" Target="../media/image6.jpeg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25923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0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ea typeface="MS PGothic" pitchFamily="34" charset="-128"/>
              </a:rPr>
              <a:t>|</a:t>
            </a:r>
            <a:r>
              <a:rPr lang="en-US" sz="900" baseline="16000" dirty="0">
                <a:ea typeface="MS PGothic" pitchFamily="34" charset="-128"/>
              </a:rPr>
              <a:t>        </a:t>
            </a:r>
            <a:fld id="{C8A5DD0B-47B8-4FFF-85E0-6207ABAD9D9D}" type="slidenum">
              <a:rPr lang="en-US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ea typeface="MS PGothic" pitchFamily="34" charset="-128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4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6925" y="5620772"/>
            <a:ext cx="1797075" cy="1236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6175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86299692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129" name="Diapositive think-cell" r:id="rId14" imgW="360" imgH="360" progId="TCLayout.ActiveDocument.1">
                  <p:embed/>
                </p:oleObj>
              </mc:Choice>
              <mc:Fallback>
                <p:oleObj name="Diapositive think-cell" r:id="rId1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6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700" y="15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700" y="1098565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48" y="6504002"/>
            <a:ext cx="629549" cy="2349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fld id="{D2C1E6A4-8B7F-409C-9A38-67F0D50DC7E9}" type="slidenum">
              <a:rPr lang="fr-FR" smtClean="0"/>
              <a:t>‹N°›</a:t>
            </a:fld>
            <a:endParaRPr lang="fr-FR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373816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700" y="6243639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700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4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6925" y="5648432"/>
            <a:ext cx="1797075" cy="1236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0258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3" r:id="rId9"/>
    <p:sldLayoutId id="2147483684" r:id="rId1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43698952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153" name="Diapositive think-cell" r:id="rId15" imgW="360" imgH="360" progId="TCLayout.ActiveDocument.1">
                  <p:embed/>
                </p:oleObj>
              </mc:Choice>
              <mc:Fallback>
                <p:oleObj name="Diapositive think-cell" r:id="rId1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6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700" y="15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700" y="1098565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48" y="6504002"/>
            <a:ext cx="629549" cy="2349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ea typeface="MS PGothic" pitchFamily="34" charset="-128"/>
              </a:rPr>
              <a:t>|</a:t>
            </a:r>
            <a:r>
              <a:rPr lang="en-US" sz="900" baseline="16000" dirty="0">
                <a:ea typeface="MS PGothic" pitchFamily="34" charset="-128"/>
              </a:rPr>
              <a:t>        </a:t>
            </a:r>
            <a:fld id="{C8A5DD0B-47B8-4FFF-85E0-6207ABAD9D9D}" type="slidenum">
              <a:rPr lang="en-US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ea typeface="MS PGothic" pitchFamily="34" charset="-128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373816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700" y="6243639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700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40682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4" y="284164"/>
            <a:ext cx="78581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QUEZ POUR MODIFIER LE STYLE DU TITRE</a:t>
            </a:r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5" y="1390651"/>
            <a:ext cx="7862887" cy="424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quez pour modifier les styles du texte du masque</a:t>
            </a:r>
          </a:p>
          <a:p>
            <a:pPr lvl="1"/>
            <a:r>
              <a:rPr lang="en-US" altLang="en-US" smtClean="0"/>
              <a:t>Deuxième niveau</a:t>
            </a:r>
          </a:p>
          <a:p>
            <a:pPr lvl="2"/>
            <a:r>
              <a:rPr lang="en-US" altLang="en-US" smtClean="0"/>
              <a:t>Troisième niveau</a:t>
            </a:r>
          </a:p>
          <a:p>
            <a:pPr lvl="3"/>
            <a:r>
              <a:rPr lang="en-US" altLang="en-US" smtClean="0"/>
              <a:t>Quatrième niveau</a:t>
            </a:r>
          </a:p>
          <a:p>
            <a:pPr lvl="4"/>
            <a:r>
              <a:rPr lang="en-US" altLang="en-US" smtClean="0"/>
              <a:t>Cinquième niveau</a:t>
            </a:r>
          </a:p>
        </p:txBody>
      </p:sp>
      <p:pic>
        <p:nvPicPr>
          <p:cNvPr id="15365" name="Picture 2" descr="C:\Users\FR14672\AppData\Local\Microsoft\Windows\Temporary Internet Files\Content.Outlook\SVBLQE22\Logo-Sanofi-CHC-rvb-HD.jpg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6" y="6237289"/>
            <a:ext cx="2640013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7645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989898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989898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989898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989898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anose="020B0604030504040204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anose="020B0604030504040204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diagramLayout" Target="../diagrams/layout1.xml"/><Relationship Id="rId7" Type="http://schemas.openxmlformats.org/officeDocument/2006/relationships/image" Target="../media/image2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1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8" y="216297"/>
            <a:ext cx="9113837" cy="666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/>
        </p:nvSpPr>
        <p:spPr>
          <a:xfrm>
            <a:off x="827584" y="3717032"/>
            <a:ext cx="7632848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CA" altLang="zh-CN" sz="1600" dirty="0" smtClean="0">
              <a:solidFill>
                <a:prstClr val="white"/>
              </a:solidFill>
              <a:latin typeface="Freestyle Script" panose="030804020302050B0404" pitchFamily="66" charset="0"/>
            </a:endParaRPr>
          </a:p>
          <a:p>
            <a:r>
              <a:rPr lang="en-CA" altLang="zh-CN" sz="7200" dirty="0" smtClean="0">
                <a:solidFill>
                  <a:prstClr val="white"/>
                </a:solidFill>
                <a:latin typeface="Freestyle Script" panose="030804020302050B0404" pitchFamily="66" charset="0"/>
              </a:rPr>
              <a:t>Purpose </a:t>
            </a:r>
            <a:r>
              <a:rPr lang="en-CA" altLang="zh-CN" sz="7200" dirty="0">
                <a:solidFill>
                  <a:prstClr val="white"/>
                </a:solidFill>
                <a:latin typeface="Freestyle Script" panose="030804020302050B0404" pitchFamily="66" charset="0"/>
              </a:rPr>
              <a:t>&amp; Values </a:t>
            </a:r>
            <a:r>
              <a:rPr lang="en-CA" altLang="zh-CN" sz="7200" dirty="0" smtClean="0">
                <a:solidFill>
                  <a:prstClr val="white"/>
                </a:solidFill>
                <a:latin typeface="Freestyle Script" panose="030804020302050B0404" pitchFamily="66" charset="0"/>
              </a:rPr>
              <a:t>Activations</a:t>
            </a:r>
          </a:p>
          <a:p>
            <a:endParaRPr lang="en-CA" altLang="zh-CN" sz="4400" dirty="0">
              <a:solidFill>
                <a:prstClr val="white"/>
              </a:solidFill>
              <a:latin typeface="Freestyle Script" panose="030804020302050B0404" pitchFamily="66" charset="0"/>
            </a:endParaRPr>
          </a:p>
          <a:p>
            <a:pPr algn="ctr"/>
            <a:r>
              <a:rPr lang="en-CA" altLang="zh-CN" sz="3200" dirty="0">
                <a:solidFill>
                  <a:schemeClr val="bg1"/>
                </a:solidFill>
              </a:rPr>
              <a:t>Tunisia &amp; Morocco </a:t>
            </a:r>
            <a:endParaRPr lang="en-CA" altLang="zh-CN" sz="3200" dirty="0" smtClean="0">
              <a:solidFill>
                <a:schemeClr val="bg1"/>
              </a:solidFill>
            </a:endParaRPr>
          </a:p>
          <a:p>
            <a:pPr algn="ctr"/>
            <a:r>
              <a:rPr lang="en-CA" altLang="zh-CN" sz="2000" i="1" dirty="0" smtClean="0">
                <a:solidFill>
                  <a:schemeClr val="bg1"/>
                </a:solidFill>
              </a:rPr>
              <a:t> </a:t>
            </a:r>
            <a:endParaRPr lang="fr-FR" sz="3600" i="1" dirty="0">
              <a:solidFill>
                <a:schemeClr val="bg1"/>
              </a:solidFill>
            </a:endParaRPr>
          </a:p>
        </p:txBody>
      </p:sp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4442" y="2537608"/>
            <a:ext cx="647254" cy="700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2564903"/>
            <a:ext cx="522851" cy="540000"/>
          </a:xfrm>
          <a:prstGeom prst="ellipse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35593979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6" name="Diagram 13"/>
          <p:cNvGraphicFramePr/>
          <p:nvPr>
            <p:extLst>
              <p:ext uri="{D42A27DB-BD31-4B8C-83A1-F6EECF244321}">
                <p14:modId xmlns:p14="http://schemas.microsoft.com/office/powerpoint/2010/main" val="1015542356"/>
              </p:ext>
            </p:extLst>
          </p:nvPr>
        </p:nvGraphicFramePr>
        <p:xfrm>
          <a:off x="197659" y="1556793"/>
          <a:ext cx="8803040" cy="4536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7" name="Groupe 6"/>
          <p:cNvGrpSpPr/>
          <p:nvPr/>
        </p:nvGrpSpPr>
        <p:grpSpPr>
          <a:xfrm>
            <a:off x="13" y="116632"/>
            <a:ext cx="9145574" cy="1026368"/>
            <a:chOff x="13" y="116632"/>
            <a:chExt cx="9145574" cy="1026368"/>
          </a:xfrm>
        </p:grpSpPr>
        <p:sp>
          <p:nvSpPr>
            <p:cNvPr id="8" name="Rectangle 7"/>
            <p:cNvSpPr/>
            <p:nvPr/>
          </p:nvSpPr>
          <p:spPr>
            <a:xfrm>
              <a:off x="13" y="304800"/>
              <a:ext cx="9143999" cy="8382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5400" dirty="0" smtClean="0">
                  <a:solidFill>
                    <a:prstClr val="white"/>
                  </a:solidFill>
                  <a:latin typeface="Freestyle Script" panose="030804020302050B0404" pitchFamily="66" charset="0"/>
                </a:rPr>
                <a:t> Activations story YTD</a:t>
              </a:r>
              <a:endParaRPr lang="en-US" sz="5400" dirty="0">
                <a:solidFill>
                  <a:prstClr val="white"/>
                </a:solidFill>
                <a:latin typeface="Freestyle Script" panose="030804020302050B0404" pitchFamily="66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1588" y="116632"/>
              <a:ext cx="9143999" cy="144016"/>
            </a:xfrm>
            <a:prstGeom prst="rect">
              <a:avLst/>
            </a:prstGeom>
            <a:solidFill>
              <a:srgbClr val="7030A0">
                <a:alpha val="5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800" dirty="0">
                <a:solidFill>
                  <a:srgbClr val="002060"/>
                </a:solidFill>
              </a:endParaRPr>
            </a:p>
          </p:txBody>
        </p:sp>
      </p:grp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40352" y="4270536"/>
            <a:ext cx="720080" cy="670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 descr="Résultat de recherche d'images pour &quot;puzzle&quot;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43593">
            <a:off x="6477899" y="4436007"/>
            <a:ext cx="443557" cy="350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3063929" y="6237312"/>
            <a:ext cx="424667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600" dirty="0">
                <a:solidFill>
                  <a:srgbClr val="0070C0"/>
                </a:solidFill>
                <a:latin typeface="Freestyle Script" panose="030804020302050B0404" pitchFamily="66" charset="0"/>
              </a:rPr>
              <a:t>To Serve Healthier, Fuller Lives</a:t>
            </a:r>
          </a:p>
        </p:txBody>
      </p:sp>
    </p:spTree>
    <p:extLst>
      <p:ext uri="{BB962C8B-B14F-4D97-AF65-F5344CB8AC3E}">
        <p14:creationId xmlns:p14="http://schemas.microsoft.com/office/powerpoint/2010/main" val="25102572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16" name="Espace réservé du contenu 1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009138444"/>
              </p:ext>
            </p:extLst>
          </p:nvPr>
        </p:nvGraphicFramePr>
        <p:xfrm>
          <a:off x="0" y="1196751"/>
          <a:ext cx="9144000" cy="4896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Rectangle 19"/>
          <p:cNvSpPr/>
          <p:nvPr/>
        </p:nvSpPr>
        <p:spPr>
          <a:xfrm>
            <a:off x="13" y="304800"/>
            <a:ext cx="9143999" cy="8382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6600" dirty="0" smtClean="0">
                <a:solidFill>
                  <a:prstClr val="white"/>
                </a:solidFill>
                <a:latin typeface="Freestyle Script" panose="030804020302050B0404" pitchFamily="66" charset="0"/>
              </a:rPr>
              <a:t> </a:t>
            </a:r>
            <a:r>
              <a:rPr lang="en-US" sz="5400" dirty="0" smtClean="0">
                <a:solidFill>
                  <a:prstClr val="white"/>
                </a:solidFill>
                <a:latin typeface="Freestyle Script" panose="030804020302050B0404" pitchFamily="66" charset="0"/>
              </a:rPr>
              <a:t>Activations scorecards </a:t>
            </a:r>
            <a:endParaRPr lang="en-US" sz="5400" dirty="0">
              <a:solidFill>
                <a:prstClr val="white"/>
              </a:solidFill>
              <a:latin typeface="Freestyle Script" panose="030804020302050B0404" pitchFamily="66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588" y="116632"/>
            <a:ext cx="9143999" cy="144016"/>
          </a:xfrm>
          <a:prstGeom prst="rect">
            <a:avLst/>
          </a:prstGeom>
          <a:solidFill>
            <a:srgbClr val="0070C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18" name="AutoShape 8" descr="Résultat de recherche d'images pour &quot;have fun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3063929" y="6237312"/>
            <a:ext cx="424667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600" dirty="0">
                <a:solidFill>
                  <a:srgbClr val="0070C0"/>
                </a:solidFill>
                <a:latin typeface="Freestyle Script" panose="030804020302050B0404" pitchFamily="66" charset="0"/>
              </a:rPr>
              <a:t>To Serve Healthier, Fuller Lives</a:t>
            </a:r>
          </a:p>
        </p:txBody>
      </p:sp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6684" y="4005064"/>
            <a:ext cx="647254" cy="700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34242" y="4032359"/>
            <a:ext cx="522851" cy="540000"/>
          </a:xfrm>
          <a:prstGeom prst="ellipse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15865672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7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8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Conception personnalisé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00B0F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02</TotalTime>
  <Words>197</Words>
  <Application>Microsoft Office PowerPoint</Application>
  <PresentationFormat>Affichage à l'écran (4:3)</PresentationFormat>
  <Paragraphs>62</Paragraphs>
  <Slides>3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4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3</vt:i4>
      </vt:variant>
    </vt:vector>
  </HeadingPairs>
  <TitlesOfParts>
    <vt:vector size="9" baseType="lpstr">
      <vt:lpstr>1_Conception personnalisée</vt:lpstr>
      <vt:lpstr>27_Conception personnalisée</vt:lpstr>
      <vt:lpstr>28_Conception personnalisée</vt:lpstr>
      <vt:lpstr>2_Conception personnalisée</vt:lpstr>
      <vt:lpstr>think-cell Slide</vt:lpstr>
      <vt:lpstr>Diapositive think-cell</vt:lpstr>
      <vt:lpstr>Présentation PowerPoint</vt:lpstr>
      <vt:lpstr>Présentation PowerPoint</vt:lpstr>
      <vt:lpstr>Présentation PowerPoint</vt:lpstr>
    </vt:vector>
  </TitlesOfParts>
  <Company>sanofi-avent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l Armi, Mouna /MA</dc:creator>
  <cp:lastModifiedBy>El Armi, Mouna /MA</cp:lastModifiedBy>
  <cp:revision>129</cp:revision>
  <cp:lastPrinted>2017-08-31T14:33:22Z</cp:lastPrinted>
  <dcterms:created xsi:type="dcterms:W3CDTF">2017-08-31T14:18:07Z</dcterms:created>
  <dcterms:modified xsi:type="dcterms:W3CDTF">2017-11-13T18:22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248951151</vt:i4>
  </property>
  <property fmtid="{D5CDD505-2E9C-101B-9397-08002B2CF9AE}" pid="3" name="_NewReviewCycle">
    <vt:lpwstr/>
  </property>
  <property fmtid="{D5CDD505-2E9C-101B-9397-08002B2CF9AE}" pid="4" name="_EmailSubject">
    <vt:lpwstr>NEED YOUR FEEDBACK - Showcasing our purpose and values at the CHC Global Forum</vt:lpwstr>
  </property>
  <property fmtid="{D5CDD505-2E9C-101B-9397-08002B2CF9AE}" pid="5" name="_AuthorEmail">
    <vt:lpwstr>Mouna.ElArmi@sanofi.com</vt:lpwstr>
  </property>
  <property fmtid="{D5CDD505-2E9C-101B-9397-08002B2CF9AE}" pid="6" name="_AuthorEmailDisplayName">
    <vt:lpwstr>El Armi, Mouna /MA</vt:lpwstr>
  </property>
  <property fmtid="{D5CDD505-2E9C-101B-9397-08002B2CF9AE}" pid="7" name="_PreviousAdHocReviewCycleID">
    <vt:i4>1248951151</vt:i4>
  </property>
</Properties>
</file>